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5.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heme/theme7.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831" r:id="rId5"/>
    <p:sldMasterId id="2147483819" r:id="rId6"/>
    <p:sldMasterId id="2147483958" r:id="rId7"/>
    <p:sldMasterId id="2147483971" r:id="rId8"/>
    <p:sldMasterId id="2147483974" r:id="rId9"/>
  </p:sldMasterIdLst>
  <p:notesMasterIdLst>
    <p:notesMasterId r:id="rId24"/>
  </p:notesMasterIdLst>
  <p:sldIdLst>
    <p:sldId id="2147473039" r:id="rId10"/>
    <p:sldId id="2147472689" r:id="rId11"/>
    <p:sldId id="2147472715" r:id="rId12"/>
    <p:sldId id="2147473034" r:id="rId13"/>
    <p:sldId id="2147473040" r:id="rId14"/>
    <p:sldId id="2147473041" r:id="rId15"/>
    <p:sldId id="2147472724" r:id="rId16"/>
    <p:sldId id="2147472722" r:id="rId17"/>
    <p:sldId id="2147472727" r:id="rId18"/>
    <p:sldId id="2147473042" r:id="rId19"/>
    <p:sldId id="2147473031" r:id="rId20"/>
    <p:sldId id="2147473036" r:id="rId21"/>
    <p:sldId id="2147473038" r:id="rId22"/>
    <p:sldId id="261" r:id="rId23"/>
  </p:sldIdLst>
  <p:sldSz cx="12192000" cy="6858000"/>
  <p:notesSz cx="6858000" cy="9144000"/>
  <p:defaultTex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542"/>
    <a:srgbClr val="ED8B00"/>
    <a:srgbClr val="006A87"/>
    <a:srgbClr val="33CCCC"/>
    <a:srgbClr val="589095"/>
    <a:srgbClr val="000000"/>
    <a:srgbClr val="339B96"/>
    <a:srgbClr val="CCFF33"/>
    <a:srgbClr val="C4D600"/>
    <a:srgbClr val="00688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291" autoAdjust="0"/>
    <p:restoredTop sz="88475" autoAdjust="0"/>
  </p:normalViewPr>
  <p:slideViewPr>
    <p:cSldViewPr snapToGrid="0">
      <p:cViewPr varScale="1">
        <p:scale>
          <a:sx n="84" d="100"/>
          <a:sy n="84" d="100"/>
        </p:scale>
        <p:origin x="461" y="8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2.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tableStyles" Target="tableStyles.xml"/><Relationship Id="rId10" Type="http://schemas.openxmlformats.org/officeDocument/2006/relationships/slide" Target="slides/slide1.xml"/><Relationship Id="rId19" Type="http://schemas.openxmlformats.org/officeDocument/2006/relationships/slide" Target="slides/slide10.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Espaço Reservado par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E1D637-D55D-49A4-B712-AFA04D65AF49}" type="datetimeFigureOut">
              <a:rPr lang="pt-BR" smtClean="0"/>
              <a:t>11/05/2026</a:t>
            </a:fld>
            <a:endParaRPr lang="pt-BR"/>
          </a:p>
        </p:txBody>
      </p:sp>
      <p:sp>
        <p:nvSpPr>
          <p:cNvPr id="4" name="Espaço Reservado para Imagem de Sli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Espaço Reservado para Anotaçõ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6" name="Espaço Reservado para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Espaço Reservado para Número de Slid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9480E15-3605-4AAA-B06D-54FC4D6ACC9E}" type="slidenum">
              <a:rPr lang="pt-BR" smtClean="0"/>
              <a:t>‹nº›</a:t>
            </a:fld>
            <a:endParaRPr lang="pt-BR"/>
          </a:p>
        </p:txBody>
      </p:sp>
    </p:spTree>
    <p:extLst>
      <p:ext uri="{BB962C8B-B14F-4D97-AF65-F5344CB8AC3E}">
        <p14:creationId xmlns:p14="http://schemas.microsoft.com/office/powerpoint/2010/main" val="8472855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pPr marL="0" marR="0" lvl="0" indent="0" algn="r" defTabSz="914147" rtl="0" eaLnBrk="1" fontAlgn="auto" latinLnBrk="0" hangingPunct="1">
              <a:lnSpc>
                <a:spcPct val="100000"/>
              </a:lnSpc>
              <a:spcBef>
                <a:spcPts val="0"/>
              </a:spcBef>
              <a:spcAft>
                <a:spcPts val="0"/>
              </a:spcAft>
              <a:buClrTx/>
              <a:buSzTx/>
              <a:buFontTx/>
              <a:buNone/>
              <a:tabLst/>
              <a:defRPr/>
            </a:pPr>
            <a:fld id="{69480E15-3605-4AAA-B06D-54FC4D6ACC9E}" type="slidenum">
              <a:rPr kumimoji="0" lang="pt-B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147" rtl="0" eaLnBrk="1" fontAlgn="auto" latinLnBrk="0" hangingPunct="1">
                <a:lnSpc>
                  <a:spcPct val="100000"/>
                </a:lnSpc>
                <a:spcBef>
                  <a:spcPts val="0"/>
                </a:spcBef>
                <a:spcAft>
                  <a:spcPts val="0"/>
                </a:spcAft>
                <a:buClrTx/>
                <a:buSzTx/>
                <a:buFontTx/>
                <a:buNone/>
                <a:tabLst/>
                <a:defRPr/>
              </a:pPr>
              <a:t>1</a:t>
            </a:fld>
            <a:endParaRPr kumimoji="0" lang="pt-B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396298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2132C6-51D1-A54C-BD7B-946AF4BFCC67}"/>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7EEB30CD-43FE-9AF9-5679-EE26EC410022}"/>
              </a:ext>
            </a:extLst>
          </p:cNvPr>
          <p:cNvSpPr>
            <a:spLocks noGrp="1" noRot="1" noChangeAspect="1"/>
          </p:cNvSpPr>
          <p:nvPr>
            <p:ph type="sldImg"/>
          </p:nvPr>
        </p:nvSpPr>
        <p:spPr/>
      </p:sp>
      <p:sp>
        <p:nvSpPr>
          <p:cNvPr id="3" name="Espaço Reservado para Anotações 2">
            <a:extLst>
              <a:ext uri="{FF2B5EF4-FFF2-40B4-BE49-F238E27FC236}">
                <a16:creationId xmlns:a16="http://schemas.microsoft.com/office/drawing/2014/main" id="{47901411-5731-7B32-61E3-24B323FA5D19}"/>
              </a:ext>
            </a:extLst>
          </p:cNvPr>
          <p:cNvSpPr>
            <a:spLocks noGrp="1"/>
          </p:cNvSpPr>
          <p:nvPr>
            <p:ph type="body" idx="1"/>
          </p:nvPr>
        </p:nvSpPr>
        <p:spPr/>
        <p:txBody>
          <a:bodyPr/>
          <a:lstStyle/>
          <a:p>
            <a:r>
              <a:rPr lang="en-US" dirty="0"/>
              <a:t>Zygmunt Bauman (1925–2017) was a renowned Polish-British sociologist and philosopher who famously used the concept of the "interregnum" to describe the current global social and political condition. Definition: Drawing on Antonio Gramsci, Bauman defined the interregnum as a period where "the old is dying and the new cannot be born". It is a time-lag separating the collapse of old social structures (solid modernity) from the establishment of new, yet-to-be-defined ones.</a:t>
            </a:r>
          </a:p>
          <a:p>
            <a:r>
              <a:rPr lang="en-US" dirty="0"/>
              <a:t>"Liquid Modernity": The interregnum is the defining state of "liquid modernity," a phrase coined by Bauman to describe a world where social forms—bonds, careers, institutions—melt faster than new ones can be forged, leading to uncertainty and instability.</a:t>
            </a:r>
            <a:endParaRPr lang="pt-BR" dirty="0"/>
          </a:p>
        </p:txBody>
      </p:sp>
      <p:sp>
        <p:nvSpPr>
          <p:cNvPr id="4" name="Espaço Reservado para Número de Slide 3">
            <a:extLst>
              <a:ext uri="{FF2B5EF4-FFF2-40B4-BE49-F238E27FC236}">
                <a16:creationId xmlns:a16="http://schemas.microsoft.com/office/drawing/2014/main" id="{1C8BC4FF-122A-9EE8-941B-A676F045597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5B1509-55A4-431D-AC0F-6996A56F006A}" type="slidenum">
              <a:rPr kumimoji="0" lang="pt-BR"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pt-BR"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08397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FAF991-3D15-E31B-B5DC-778824C0E4A0}"/>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AEB7EBD3-D3F6-A7A6-9387-486C9BD5AF01}"/>
              </a:ext>
            </a:extLst>
          </p:cNvPr>
          <p:cNvSpPr>
            <a:spLocks noGrp="1" noRot="1" noChangeAspect="1"/>
          </p:cNvSpPr>
          <p:nvPr>
            <p:ph type="sldImg"/>
          </p:nvPr>
        </p:nvSpPr>
        <p:spPr/>
      </p:sp>
      <p:sp>
        <p:nvSpPr>
          <p:cNvPr id="3" name="Espaço Reservado para Anotações 2">
            <a:extLst>
              <a:ext uri="{FF2B5EF4-FFF2-40B4-BE49-F238E27FC236}">
                <a16:creationId xmlns:a16="http://schemas.microsoft.com/office/drawing/2014/main" id="{38D7143C-621B-C1F1-CF52-3FA4C13FCC59}"/>
              </a:ext>
            </a:extLst>
          </p:cNvPr>
          <p:cNvSpPr>
            <a:spLocks noGrp="1"/>
          </p:cNvSpPr>
          <p:nvPr>
            <p:ph type="body" idx="1"/>
          </p:nvPr>
        </p:nvSpPr>
        <p:spPr/>
        <p:txBody>
          <a:bodyPr/>
          <a:lstStyle/>
          <a:p>
            <a:r>
              <a:rPr lang="en-US" b="1" dirty="0">
                <a:highlight>
                  <a:srgbClr val="FFFF00"/>
                </a:highlight>
              </a:rPr>
              <a:t>A resentful and violent reaction to the rise of Asia and developing countries. Wh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ighlight>
                  <a:srgbClr val="FFFF00"/>
                </a:highlight>
              </a:rPr>
              <a:t>Global income inequality trends from 1988 to 2008. It shows that during this period of high globalization, the emerging middle class in Asia saw massive income gains (the "back"), while the lower-middle class in developed nations stagnated (the "trough"), and the top 1% gained significantly (the "trunk").</a:t>
            </a:r>
            <a:endParaRPr lang="pt-BR" sz="1200" b="1" dirty="0">
              <a:highlight>
                <a:srgbClr val="FFFF00"/>
              </a:highlight>
            </a:endParaRPr>
          </a:p>
          <a:p>
            <a:r>
              <a:rPr lang="en-US" b="1" dirty="0">
                <a:highlight>
                  <a:srgbClr val="FFFF00"/>
                </a:highlight>
              </a:rPr>
              <a:t>We also deserve to be developed and rich.</a:t>
            </a:r>
            <a:endParaRPr lang="pt-BR" b="1" dirty="0">
              <a:highlight>
                <a:srgbClr val="FFFF00"/>
              </a:highlight>
            </a:endParaRPr>
          </a:p>
        </p:txBody>
      </p:sp>
      <p:sp>
        <p:nvSpPr>
          <p:cNvPr id="4" name="Espaço Reservado para Número de Slide 3">
            <a:extLst>
              <a:ext uri="{FF2B5EF4-FFF2-40B4-BE49-F238E27FC236}">
                <a16:creationId xmlns:a16="http://schemas.microsoft.com/office/drawing/2014/main" id="{E56AABA5-A975-2C82-1F80-ABC238F0C2D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5B1509-55A4-431D-AC0F-6996A56F006A}" type="slidenum">
              <a:rPr kumimoji="0" lang="pt-BR"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pt-BR"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941811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3D24EE-4092-72E4-2DAF-9CC7F12AED64}"/>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57C4DEA2-49F5-0D00-43DE-A8BD5AA97641}"/>
              </a:ext>
            </a:extLst>
          </p:cNvPr>
          <p:cNvSpPr>
            <a:spLocks noGrp="1" noRot="1" noChangeAspect="1"/>
          </p:cNvSpPr>
          <p:nvPr>
            <p:ph type="sldImg"/>
          </p:nvPr>
        </p:nvSpPr>
        <p:spPr/>
      </p:sp>
      <p:sp>
        <p:nvSpPr>
          <p:cNvPr id="3" name="Espaço Reservado para Anotações 2">
            <a:extLst>
              <a:ext uri="{FF2B5EF4-FFF2-40B4-BE49-F238E27FC236}">
                <a16:creationId xmlns:a16="http://schemas.microsoft.com/office/drawing/2014/main" id="{FB4CE10A-3FA0-3105-E6DC-429BF8D89733}"/>
              </a:ext>
            </a:extLst>
          </p:cNvPr>
          <p:cNvSpPr>
            <a:spLocks noGrp="1"/>
          </p:cNvSpPr>
          <p:nvPr>
            <p:ph type="body" idx="1"/>
          </p:nvPr>
        </p:nvSpPr>
        <p:spPr/>
        <p:txBody>
          <a:bodyPr/>
          <a:lstStyle/>
          <a:p>
            <a:endParaRPr lang="pt-BR"/>
          </a:p>
        </p:txBody>
      </p:sp>
      <p:sp>
        <p:nvSpPr>
          <p:cNvPr id="4" name="Espaço Reservado para Número de Slide 3">
            <a:extLst>
              <a:ext uri="{FF2B5EF4-FFF2-40B4-BE49-F238E27FC236}">
                <a16:creationId xmlns:a16="http://schemas.microsoft.com/office/drawing/2014/main" id="{172BCA6F-7344-DD65-5639-FCA30B8F974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5B1509-55A4-431D-AC0F-6996A56F006A}" type="slidenum">
              <a:rPr kumimoji="0" lang="pt-BR"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pt-BR"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6023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93FE4E-C81E-093A-28BE-A19272403C8B}"/>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36184E28-7F9E-6E71-B587-A625923C1E8E}"/>
              </a:ext>
            </a:extLst>
          </p:cNvPr>
          <p:cNvSpPr>
            <a:spLocks noGrp="1" noRot="1" noChangeAspect="1"/>
          </p:cNvSpPr>
          <p:nvPr>
            <p:ph type="sldImg"/>
          </p:nvPr>
        </p:nvSpPr>
        <p:spPr/>
      </p:sp>
      <p:sp>
        <p:nvSpPr>
          <p:cNvPr id="3" name="Espaço Reservado para Anotações 2">
            <a:extLst>
              <a:ext uri="{FF2B5EF4-FFF2-40B4-BE49-F238E27FC236}">
                <a16:creationId xmlns:a16="http://schemas.microsoft.com/office/drawing/2014/main" id="{1052EB97-288D-42FE-E101-B92FAFEA247F}"/>
              </a:ext>
            </a:extLst>
          </p:cNvPr>
          <p:cNvSpPr>
            <a:spLocks noGrp="1"/>
          </p:cNvSpPr>
          <p:nvPr>
            <p:ph type="body" idx="1"/>
          </p:nvPr>
        </p:nvSpPr>
        <p:spPr/>
        <p:txBody>
          <a:bodyPr/>
          <a:lstStyle/>
          <a:p>
            <a:endParaRPr lang="pt-BR" dirty="0"/>
          </a:p>
        </p:txBody>
      </p:sp>
      <p:sp>
        <p:nvSpPr>
          <p:cNvPr id="4" name="Espaço Reservado para Número de Slide 3">
            <a:extLst>
              <a:ext uri="{FF2B5EF4-FFF2-40B4-BE49-F238E27FC236}">
                <a16:creationId xmlns:a16="http://schemas.microsoft.com/office/drawing/2014/main" id="{F78C18C7-7C3F-7D54-57B1-1026770C511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5B1509-55A4-431D-AC0F-6996A56F006A}" type="slidenum">
              <a:rPr kumimoji="0" lang="pt-BR"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pt-BR"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38798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64BDA0-CA5E-AEBD-873B-835D4C9A24E6}"/>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6A589FA9-0A8C-CFF2-AE77-992948B4420D}"/>
              </a:ext>
            </a:extLst>
          </p:cNvPr>
          <p:cNvSpPr>
            <a:spLocks noGrp="1" noRot="1" noChangeAspect="1"/>
          </p:cNvSpPr>
          <p:nvPr>
            <p:ph type="sldImg"/>
          </p:nvPr>
        </p:nvSpPr>
        <p:spPr/>
      </p:sp>
      <p:sp>
        <p:nvSpPr>
          <p:cNvPr id="3" name="Espaço Reservado para Anotações 2">
            <a:extLst>
              <a:ext uri="{FF2B5EF4-FFF2-40B4-BE49-F238E27FC236}">
                <a16:creationId xmlns:a16="http://schemas.microsoft.com/office/drawing/2014/main" id="{C734FD02-C5AB-38D2-A901-4C02F2EC7154}"/>
              </a:ext>
            </a:extLst>
          </p:cNvPr>
          <p:cNvSpPr>
            <a:spLocks noGrp="1"/>
          </p:cNvSpPr>
          <p:nvPr>
            <p:ph type="body" idx="1"/>
          </p:nvPr>
        </p:nvSpPr>
        <p:spPr/>
        <p:txBody>
          <a:bodyPr/>
          <a:lstStyle/>
          <a:p>
            <a:endParaRPr lang="pt-BR"/>
          </a:p>
        </p:txBody>
      </p:sp>
      <p:sp>
        <p:nvSpPr>
          <p:cNvPr id="4" name="Espaço Reservado para Número de Slide 3">
            <a:extLst>
              <a:ext uri="{FF2B5EF4-FFF2-40B4-BE49-F238E27FC236}">
                <a16:creationId xmlns:a16="http://schemas.microsoft.com/office/drawing/2014/main" id="{E6FDE781-4F7F-433D-40C0-D909AFC154E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5B1509-55A4-431D-AC0F-6996A56F006A}" type="slidenum">
              <a:rPr kumimoji="0" lang="pt-BR"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pt-BR"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771930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jpeg"/><Relationship Id="rId1" Type="http://schemas.openxmlformats.org/officeDocument/2006/relationships/slideMaster" Target="../slideMasters/slideMaster6.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7.png"/><Relationship Id="rId7" Type="http://schemas.openxmlformats.org/officeDocument/2006/relationships/image" Target="../media/image5.png"/><Relationship Id="rId2" Type="http://schemas.openxmlformats.org/officeDocument/2006/relationships/image" Target="../media/image12.jpeg"/><Relationship Id="rId1" Type="http://schemas.openxmlformats.org/officeDocument/2006/relationships/slideMaster" Target="../slideMasters/slideMaster6.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4.png"/><Relationship Id="rId7" Type="http://schemas.openxmlformats.org/officeDocument/2006/relationships/image" Target="../media/image6.png"/><Relationship Id="rId12" Type="http://schemas.openxmlformats.org/officeDocument/2006/relationships/image" Target="../media/image10.png"/><Relationship Id="rId2" Type="http://schemas.openxmlformats.org/officeDocument/2006/relationships/image" Target="../media/image13.png"/><Relationship Id="rId1" Type="http://schemas.openxmlformats.org/officeDocument/2006/relationships/slideMaster" Target="../slideMasters/slideMaster6.xml"/><Relationship Id="rId6" Type="http://schemas.openxmlformats.org/officeDocument/2006/relationships/image" Target="../media/image5.png"/><Relationship Id="rId11" Type="http://schemas.openxmlformats.org/officeDocument/2006/relationships/image" Target="../media/image9.png"/><Relationship Id="rId5" Type="http://schemas.openxmlformats.org/officeDocument/2006/relationships/image" Target="../media/image16.png"/><Relationship Id="rId10" Type="http://schemas.openxmlformats.org/officeDocument/2006/relationships/image" Target="../media/image8.png"/><Relationship Id="rId4" Type="http://schemas.openxmlformats.org/officeDocument/2006/relationships/image" Target="../media/image15.png"/><Relationship Id="rId9" Type="http://schemas.openxmlformats.org/officeDocument/2006/relationships/image" Target="../media/image7.png"/></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19.jpeg"/><Relationship Id="rId7" Type="http://schemas.openxmlformats.org/officeDocument/2006/relationships/image" Target="../media/image7.png"/><Relationship Id="rId12" Type="http://schemas.openxmlformats.org/officeDocument/2006/relationships/image" Target="../media/image21.png"/><Relationship Id="rId2" Type="http://schemas.openxmlformats.org/officeDocument/2006/relationships/image" Target="../media/image18.jpeg"/><Relationship Id="rId1" Type="http://schemas.openxmlformats.org/officeDocument/2006/relationships/slideMaster" Target="../slideMasters/slideMaster6.xml"/><Relationship Id="rId6" Type="http://schemas.openxmlformats.org/officeDocument/2006/relationships/image" Target="../media/image17.png"/><Relationship Id="rId11" Type="http://schemas.openxmlformats.org/officeDocument/2006/relationships/image" Target="../media/image20.png"/><Relationship Id="rId5" Type="http://schemas.openxmlformats.org/officeDocument/2006/relationships/image" Target="../media/image6.png"/><Relationship Id="rId10" Type="http://schemas.openxmlformats.org/officeDocument/2006/relationships/image" Target="../media/image10.png"/><Relationship Id="rId4" Type="http://schemas.openxmlformats.org/officeDocument/2006/relationships/image" Target="../media/image5.png"/><Relationship Id="rId9" Type="http://schemas.openxmlformats.org/officeDocument/2006/relationships/image" Target="../media/image9.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2.png"/><Relationship Id="rId1" Type="http://schemas.openxmlformats.org/officeDocument/2006/relationships/slideMaster" Target="../slideMasters/slideMaster6.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6.xml"/><Relationship Id="rId1" Type="http://schemas.openxmlformats.org/officeDocument/2006/relationships/tags" Target="../tags/tag1.xml"/><Relationship Id="rId5" Type="http://schemas.openxmlformats.org/officeDocument/2006/relationships/image" Target="../media/image24.png"/><Relationship Id="rId4" Type="http://schemas.openxmlformats.org/officeDocument/2006/relationships/image" Target="../media/image23.emf"/></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E7955A6-B65D-2FDC-80A8-F47FDF1FAB42}"/>
              </a:ext>
            </a:extLst>
          </p:cNvPr>
          <p:cNvSpPr>
            <a:spLocks noGrp="1"/>
          </p:cNvSpPr>
          <p:nvPr>
            <p:ph type="ctrTitle"/>
          </p:nvPr>
        </p:nvSpPr>
        <p:spPr>
          <a:xfrm>
            <a:off x="1524000" y="1122363"/>
            <a:ext cx="9144000" cy="2387600"/>
          </a:xfrm>
        </p:spPr>
        <p:txBody>
          <a:bodyPr anchor="b"/>
          <a:lstStyle>
            <a:lvl1pPr algn="ctr">
              <a:defRPr sz="6000"/>
            </a:lvl1pPr>
          </a:lstStyle>
          <a:p>
            <a:r>
              <a:rPr lang="pt-BR"/>
              <a:t>Clique para editar o título Mestre</a:t>
            </a:r>
          </a:p>
        </p:txBody>
      </p:sp>
      <p:sp>
        <p:nvSpPr>
          <p:cNvPr id="3" name="Subtítulo 2">
            <a:extLst>
              <a:ext uri="{FF2B5EF4-FFF2-40B4-BE49-F238E27FC236}">
                <a16:creationId xmlns:a16="http://schemas.microsoft.com/office/drawing/2014/main" id="{9C1A1437-22DF-F515-9E9F-EEC436C9623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a:t>Clique para editar o estilo do subtítulo Mestre</a:t>
            </a:r>
          </a:p>
        </p:txBody>
      </p:sp>
      <p:sp>
        <p:nvSpPr>
          <p:cNvPr id="4" name="Espaço Reservado para Data 3">
            <a:extLst>
              <a:ext uri="{FF2B5EF4-FFF2-40B4-BE49-F238E27FC236}">
                <a16:creationId xmlns:a16="http://schemas.microsoft.com/office/drawing/2014/main" id="{BA8B1C0D-6C44-5623-23E2-400FC4284235}"/>
              </a:ext>
            </a:extLst>
          </p:cNvPr>
          <p:cNvSpPr>
            <a:spLocks noGrp="1"/>
          </p:cNvSpPr>
          <p:nvPr>
            <p:ph type="dt" sz="half" idx="10"/>
          </p:nvPr>
        </p:nvSpPr>
        <p:spPr/>
        <p:txBody>
          <a:bodyPr/>
          <a:lstStyle/>
          <a:p>
            <a:fld id="{469AC970-D5BA-4C8F-B1E1-CD031371C8D9}" type="datetimeFigureOut">
              <a:rPr lang="pt-BR" smtClean="0"/>
              <a:t>11/05/2026</a:t>
            </a:fld>
            <a:endParaRPr lang="pt-BR"/>
          </a:p>
        </p:txBody>
      </p:sp>
      <p:sp>
        <p:nvSpPr>
          <p:cNvPr id="5" name="Espaço Reservado para Rodapé 4">
            <a:extLst>
              <a:ext uri="{FF2B5EF4-FFF2-40B4-BE49-F238E27FC236}">
                <a16:creationId xmlns:a16="http://schemas.microsoft.com/office/drawing/2014/main" id="{0274F913-0E28-7EF0-4405-C8AB51F3D04B}"/>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69064500-8B3D-AA75-8BF3-10A96D065651}"/>
              </a:ext>
            </a:extLst>
          </p:cNvPr>
          <p:cNvSpPr>
            <a:spLocks noGrp="1"/>
          </p:cNvSpPr>
          <p:nvPr>
            <p:ph type="sldNum" sz="quarter" idx="12"/>
          </p:nvPr>
        </p:nvSpPr>
        <p:spPr/>
        <p:txBody>
          <a:bodyPr/>
          <a:lstStyle/>
          <a:p>
            <a:fld id="{C2DC0A5C-548C-4DDD-B0B9-C90FCFE2B2B1}" type="slidenum">
              <a:rPr lang="pt-BR" smtClean="0"/>
              <a:t>‹nº›</a:t>
            </a:fld>
            <a:endParaRPr lang="pt-BR"/>
          </a:p>
        </p:txBody>
      </p:sp>
    </p:spTree>
    <p:extLst>
      <p:ext uri="{BB962C8B-B14F-4D97-AF65-F5344CB8AC3E}">
        <p14:creationId xmlns:p14="http://schemas.microsoft.com/office/powerpoint/2010/main" val="22257219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704C5FF-0BFE-DF8C-3ED2-89427DF7899A}"/>
              </a:ext>
            </a:extLst>
          </p:cNvPr>
          <p:cNvSpPr>
            <a:spLocks noGrp="1"/>
          </p:cNvSpPr>
          <p:nvPr>
            <p:ph type="title"/>
          </p:nvPr>
        </p:nvSpPr>
        <p:spPr/>
        <p:txBody>
          <a:bodyPr/>
          <a:lstStyle/>
          <a:p>
            <a:r>
              <a:rPr lang="pt-BR"/>
              <a:t>Clique para editar o título Mestre</a:t>
            </a:r>
          </a:p>
        </p:txBody>
      </p:sp>
      <p:sp>
        <p:nvSpPr>
          <p:cNvPr id="3" name="Espaço Reservado para Texto Vertical 2">
            <a:extLst>
              <a:ext uri="{FF2B5EF4-FFF2-40B4-BE49-F238E27FC236}">
                <a16:creationId xmlns:a16="http://schemas.microsoft.com/office/drawing/2014/main" id="{8B46F05D-16DC-7749-31BD-FE0F76ECDC4E}"/>
              </a:ext>
            </a:extLst>
          </p:cNvPr>
          <p:cNvSpPr>
            <a:spLocks noGrp="1"/>
          </p:cNvSpPr>
          <p:nvPr>
            <p:ph type="body" orient="vert" idx="1"/>
          </p:nvPr>
        </p:nvSpPr>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1CBC0156-B786-0631-C4CE-A0B892F71B9C}"/>
              </a:ext>
            </a:extLst>
          </p:cNvPr>
          <p:cNvSpPr>
            <a:spLocks noGrp="1"/>
          </p:cNvSpPr>
          <p:nvPr>
            <p:ph type="dt" sz="half" idx="10"/>
          </p:nvPr>
        </p:nvSpPr>
        <p:spPr/>
        <p:txBody>
          <a:bodyPr/>
          <a:lstStyle/>
          <a:p>
            <a:fld id="{469AC970-D5BA-4C8F-B1E1-CD031371C8D9}" type="datetimeFigureOut">
              <a:rPr lang="pt-BR" smtClean="0"/>
              <a:t>11/05/2026</a:t>
            </a:fld>
            <a:endParaRPr lang="pt-BR"/>
          </a:p>
        </p:txBody>
      </p:sp>
      <p:sp>
        <p:nvSpPr>
          <p:cNvPr id="5" name="Espaço Reservado para Rodapé 4">
            <a:extLst>
              <a:ext uri="{FF2B5EF4-FFF2-40B4-BE49-F238E27FC236}">
                <a16:creationId xmlns:a16="http://schemas.microsoft.com/office/drawing/2014/main" id="{4CBF8252-1864-C05D-2EA6-FF28FE45BAB6}"/>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51D875D6-944F-BB21-3DE2-4A859DE82E1D}"/>
              </a:ext>
            </a:extLst>
          </p:cNvPr>
          <p:cNvSpPr>
            <a:spLocks noGrp="1"/>
          </p:cNvSpPr>
          <p:nvPr>
            <p:ph type="sldNum" sz="quarter" idx="12"/>
          </p:nvPr>
        </p:nvSpPr>
        <p:spPr/>
        <p:txBody>
          <a:bodyPr/>
          <a:lstStyle/>
          <a:p>
            <a:fld id="{C2DC0A5C-548C-4DDD-B0B9-C90FCFE2B2B1}" type="slidenum">
              <a:rPr lang="pt-BR" smtClean="0"/>
              <a:t>‹nº›</a:t>
            </a:fld>
            <a:endParaRPr lang="pt-BR"/>
          </a:p>
        </p:txBody>
      </p:sp>
    </p:spTree>
    <p:extLst>
      <p:ext uri="{BB962C8B-B14F-4D97-AF65-F5344CB8AC3E}">
        <p14:creationId xmlns:p14="http://schemas.microsoft.com/office/powerpoint/2010/main" val="9789821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exto e Título Vertical">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0A6ECAC7-A413-46BA-D07A-48145C94672F}"/>
              </a:ext>
            </a:extLst>
          </p:cNvPr>
          <p:cNvSpPr>
            <a:spLocks noGrp="1"/>
          </p:cNvSpPr>
          <p:nvPr>
            <p:ph type="title" orient="vert"/>
          </p:nvPr>
        </p:nvSpPr>
        <p:spPr>
          <a:xfrm>
            <a:off x="8724900" y="365125"/>
            <a:ext cx="2628900" cy="5811838"/>
          </a:xfrm>
        </p:spPr>
        <p:txBody>
          <a:bodyPr vert="eaVert"/>
          <a:lstStyle/>
          <a:p>
            <a:r>
              <a:rPr lang="pt-BR"/>
              <a:t>Clique para editar o título Mestre</a:t>
            </a:r>
          </a:p>
        </p:txBody>
      </p:sp>
      <p:sp>
        <p:nvSpPr>
          <p:cNvPr id="3" name="Espaço Reservado para Texto Vertical 2">
            <a:extLst>
              <a:ext uri="{FF2B5EF4-FFF2-40B4-BE49-F238E27FC236}">
                <a16:creationId xmlns:a16="http://schemas.microsoft.com/office/drawing/2014/main" id="{9B4DE360-819A-2474-2C94-9E66216F1350}"/>
              </a:ext>
            </a:extLst>
          </p:cNvPr>
          <p:cNvSpPr>
            <a:spLocks noGrp="1"/>
          </p:cNvSpPr>
          <p:nvPr>
            <p:ph type="body" orient="vert" idx="1"/>
          </p:nvPr>
        </p:nvSpPr>
        <p:spPr>
          <a:xfrm>
            <a:off x="838200" y="365125"/>
            <a:ext cx="7734300" cy="5811838"/>
          </a:xfrm>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E849BDB1-CD8A-E50F-7ADF-E3487D4DFB4A}"/>
              </a:ext>
            </a:extLst>
          </p:cNvPr>
          <p:cNvSpPr>
            <a:spLocks noGrp="1"/>
          </p:cNvSpPr>
          <p:nvPr>
            <p:ph type="dt" sz="half" idx="10"/>
          </p:nvPr>
        </p:nvSpPr>
        <p:spPr/>
        <p:txBody>
          <a:bodyPr/>
          <a:lstStyle/>
          <a:p>
            <a:fld id="{469AC970-D5BA-4C8F-B1E1-CD031371C8D9}" type="datetimeFigureOut">
              <a:rPr lang="pt-BR" smtClean="0"/>
              <a:t>11/05/2026</a:t>
            </a:fld>
            <a:endParaRPr lang="pt-BR"/>
          </a:p>
        </p:txBody>
      </p:sp>
      <p:sp>
        <p:nvSpPr>
          <p:cNvPr id="5" name="Espaço Reservado para Rodapé 4">
            <a:extLst>
              <a:ext uri="{FF2B5EF4-FFF2-40B4-BE49-F238E27FC236}">
                <a16:creationId xmlns:a16="http://schemas.microsoft.com/office/drawing/2014/main" id="{CBE91B9F-C06D-760E-80E6-EC01844EBD88}"/>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B96382F3-C7E9-DC16-3E94-258C384512D4}"/>
              </a:ext>
            </a:extLst>
          </p:cNvPr>
          <p:cNvSpPr>
            <a:spLocks noGrp="1"/>
          </p:cNvSpPr>
          <p:nvPr>
            <p:ph type="sldNum" sz="quarter" idx="12"/>
          </p:nvPr>
        </p:nvSpPr>
        <p:spPr/>
        <p:txBody>
          <a:bodyPr/>
          <a:lstStyle/>
          <a:p>
            <a:fld id="{C2DC0A5C-548C-4DDD-B0B9-C90FCFE2B2B1}" type="slidenum">
              <a:rPr lang="pt-BR" smtClean="0"/>
              <a:t>‹nº›</a:t>
            </a:fld>
            <a:endParaRPr lang="pt-BR"/>
          </a:p>
        </p:txBody>
      </p:sp>
    </p:spTree>
    <p:extLst>
      <p:ext uri="{BB962C8B-B14F-4D97-AF65-F5344CB8AC3E}">
        <p14:creationId xmlns:p14="http://schemas.microsoft.com/office/powerpoint/2010/main" val="37768404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Agenda ou Sumário 01">
    <p:spTree>
      <p:nvGrpSpPr>
        <p:cNvPr id="1" name=""/>
        <p:cNvGrpSpPr/>
        <p:nvPr/>
      </p:nvGrpSpPr>
      <p:grpSpPr>
        <a:xfrm>
          <a:off x="0" y="0"/>
          <a:ext cx="0" cy="0"/>
          <a:chOff x="0" y="0"/>
          <a:chExt cx="0" cy="0"/>
        </a:xfrm>
      </p:grpSpPr>
      <p:pic>
        <p:nvPicPr>
          <p:cNvPr id="2" name="Imagem 1">
            <a:extLst>
              <a:ext uri="{FF2B5EF4-FFF2-40B4-BE49-F238E27FC236}">
                <a16:creationId xmlns:a16="http://schemas.microsoft.com/office/drawing/2014/main" id="{BF9853F9-2EA7-AB06-B3FE-29352019E3B1}"/>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357925" y="260624"/>
            <a:ext cx="1602464" cy="464365"/>
          </a:xfrm>
          <a:prstGeom prst="rect">
            <a:avLst/>
          </a:prstGeom>
        </p:spPr>
      </p:pic>
      <p:pic>
        <p:nvPicPr>
          <p:cNvPr id="6" name="Imagem 5">
            <a:extLst>
              <a:ext uri="{FF2B5EF4-FFF2-40B4-BE49-F238E27FC236}">
                <a16:creationId xmlns:a16="http://schemas.microsoft.com/office/drawing/2014/main" id="{1DDD95F3-D154-AB75-8279-612EE88C52D6}"/>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l="9307" t="12605" r="55393" b="55053"/>
          <a:stretch/>
        </p:blipFill>
        <p:spPr>
          <a:xfrm>
            <a:off x="0" y="0"/>
            <a:ext cx="5085008" cy="2727843"/>
          </a:xfrm>
          <a:prstGeom prst="rect">
            <a:avLst/>
          </a:prstGeom>
        </p:spPr>
      </p:pic>
    </p:spTree>
    <p:extLst>
      <p:ext uri="{BB962C8B-B14F-4D97-AF65-F5344CB8AC3E}">
        <p14:creationId xmlns:p14="http://schemas.microsoft.com/office/powerpoint/2010/main" val="36465147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71482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D134EA8-2F38-FC0F-3F7E-B3117D558D9B}"/>
              </a:ext>
            </a:extLst>
          </p:cNvPr>
          <p:cNvSpPr>
            <a:spLocks noGrp="1"/>
          </p:cNvSpPr>
          <p:nvPr>
            <p:ph type="ctrTitle"/>
          </p:nvPr>
        </p:nvSpPr>
        <p:spPr>
          <a:xfrm>
            <a:off x="1524000" y="1122363"/>
            <a:ext cx="9144000" cy="2387600"/>
          </a:xfrm>
        </p:spPr>
        <p:txBody>
          <a:bodyPr anchor="b"/>
          <a:lstStyle>
            <a:lvl1pPr algn="ctr">
              <a:defRPr sz="6000"/>
            </a:lvl1pPr>
          </a:lstStyle>
          <a:p>
            <a:r>
              <a:rPr lang="pt-BR"/>
              <a:t>Clique para editar o título Mestre</a:t>
            </a:r>
          </a:p>
        </p:txBody>
      </p:sp>
      <p:sp>
        <p:nvSpPr>
          <p:cNvPr id="3" name="Subtítulo 2">
            <a:extLst>
              <a:ext uri="{FF2B5EF4-FFF2-40B4-BE49-F238E27FC236}">
                <a16:creationId xmlns:a16="http://schemas.microsoft.com/office/drawing/2014/main" id="{F5B18A77-14BD-8EFA-A132-4946A9E7586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a:t>Clique para editar o estilo do subtítulo Mestre</a:t>
            </a:r>
          </a:p>
        </p:txBody>
      </p:sp>
      <p:sp>
        <p:nvSpPr>
          <p:cNvPr id="4" name="Espaço Reservado para Data 3">
            <a:extLst>
              <a:ext uri="{FF2B5EF4-FFF2-40B4-BE49-F238E27FC236}">
                <a16:creationId xmlns:a16="http://schemas.microsoft.com/office/drawing/2014/main" id="{7D917436-2CA8-C1B3-0DC8-1BE5CD4B0363}"/>
              </a:ext>
            </a:extLst>
          </p:cNvPr>
          <p:cNvSpPr>
            <a:spLocks noGrp="1"/>
          </p:cNvSpPr>
          <p:nvPr>
            <p:ph type="dt" sz="half" idx="10"/>
          </p:nvPr>
        </p:nvSpPr>
        <p:spPr/>
        <p:txBody>
          <a:bodyPr/>
          <a:lstStyle/>
          <a:p>
            <a:fld id="{65B4EC1A-3C8A-40B3-9A34-7FD9536B0A72}" type="datetimeFigureOut">
              <a:rPr lang="pt-BR" smtClean="0"/>
              <a:t>11/05/2026</a:t>
            </a:fld>
            <a:endParaRPr lang="pt-BR"/>
          </a:p>
        </p:txBody>
      </p:sp>
      <p:sp>
        <p:nvSpPr>
          <p:cNvPr id="5" name="Espaço Reservado para Rodapé 4">
            <a:extLst>
              <a:ext uri="{FF2B5EF4-FFF2-40B4-BE49-F238E27FC236}">
                <a16:creationId xmlns:a16="http://schemas.microsoft.com/office/drawing/2014/main" id="{8E75729A-D6F7-93EC-2964-B0897D40AF4D}"/>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ABF82AB1-454F-E2C4-D6B3-C6B3A8FC5250}"/>
              </a:ext>
            </a:extLst>
          </p:cNvPr>
          <p:cNvSpPr>
            <a:spLocks noGrp="1"/>
          </p:cNvSpPr>
          <p:nvPr>
            <p:ph type="sldNum" sz="quarter" idx="12"/>
          </p:nvPr>
        </p:nvSpPr>
        <p:spPr/>
        <p:txBody>
          <a:bodyPr/>
          <a:lstStyle/>
          <a:p>
            <a:fld id="{7552F7E6-A746-4507-91DC-D17E96079A1D}" type="slidenum">
              <a:rPr lang="pt-BR" smtClean="0"/>
              <a:t>‹nº›</a:t>
            </a:fld>
            <a:endParaRPr lang="pt-BR"/>
          </a:p>
        </p:txBody>
      </p:sp>
    </p:spTree>
    <p:extLst>
      <p:ext uri="{BB962C8B-B14F-4D97-AF65-F5344CB8AC3E}">
        <p14:creationId xmlns:p14="http://schemas.microsoft.com/office/powerpoint/2010/main" val="23456995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4B23A64-E02E-4917-5707-D1F8C99D4CA8}"/>
              </a:ext>
            </a:extLst>
          </p:cNvPr>
          <p:cNvSpPr>
            <a:spLocks noGrp="1"/>
          </p:cNvSpPr>
          <p:nvPr>
            <p:ph type="title"/>
          </p:nvPr>
        </p:nvSpPr>
        <p:spPr/>
        <p:txBody>
          <a:bodyPr/>
          <a:lstStyle/>
          <a:p>
            <a:r>
              <a:rPr lang="pt-BR"/>
              <a:t>Clique para editar o título Mestre</a:t>
            </a:r>
          </a:p>
        </p:txBody>
      </p:sp>
      <p:sp>
        <p:nvSpPr>
          <p:cNvPr id="3" name="Espaço Reservado para Conteúdo 2">
            <a:extLst>
              <a:ext uri="{FF2B5EF4-FFF2-40B4-BE49-F238E27FC236}">
                <a16:creationId xmlns:a16="http://schemas.microsoft.com/office/drawing/2014/main" id="{610713AD-5F2B-6921-2189-9731B9984874}"/>
              </a:ext>
            </a:extLst>
          </p:cNvPr>
          <p:cNvSpPr>
            <a:spLocks noGrp="1"/>
          </p:cNvSpPr>
          <p:nvPr>
            <p:ph idx="1"/>
          </p:nvPr>
        </p:nvSpPr>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763E97C9-21B2-DC28-03DF-88829A4204B1}"/>
              </a:ext>
            </a:extLst>
          </p:cNvPr>
          <p:cNvSpPr>
            <a:spLocks noGrp="1"/>
          </p:cNvSpPr>
          <p:nvPr>
            <p:ph type="dt" sz="half" idx="10"/>
          </p:nvPr>
        </p:nvSpPr>
        <p:spPr/>
        <p:txBody>
          <a:bodyPr/>
          <a:lstStyle/>
          <a:p>
            <a:fld id="{65B4EC1A-3C8A-40B3-9A34-7FD9536B0A72}" type="datetimeFigureOut">
              <a:rPr lang="pt-BR" smtClean="0"/>
              <a:t>11/05/2026</a:t>
            </a:fld>
            <a:endParaRPr lang="pt-BR"/>
          </a:p>
        </p:txBody>
      </p:sp>
      <p:sp>
        <p:nvSpPr>
          <p:cNvPr id="5" name="Espaço Reservado para Rodapé 4">
            <a:extLst>
              <a:ext uri="{FF2B5EF4-FFF2-40B4-BE49-F238E27FC236}">
                <a16:creationId xmlns:a16="http://schemas.microsoft.com/office/drawing/2014/main" id="{B73A2239-7FFD-4D76-F704-1CDE88E511AB}"/>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0D174635-CDAB-1B48-F8F5-BDBD2EEB131E}"/>
              </a:ext>
            </a:extLst>
          </p:cNvPr>
          <p:cNvSpPr>
            <a:spLocks noGrp="1"/>
          </p:cNvSpPr>
          <p:nvPr>
            <p:ph type="sldNum" sz="quarter" idx="12"/>
          </p:nvPr>
        </p:nvSpPr>
        <p:spPr/>
        <p:txBody>
          <a:bodyPr/>
          <a:lstStyle/>
          <a:p>
            <a:fld id="{7552F7E6-A746-4507-91DC-D17E96079A1D}" type="slidenum">
              <a:rPr lang="pt-BR" smtClean="0"/>
              <a:t>‹nº›</a:t>
            </a:fld>
            <a:endParaRPr lang="pt-BR"/>
          </a:p>
        </p:txBody>
      </p:sp>
    </p:spTree>
    <p:extLst>
      <p:ext uri="{BB962C8B-B14F-4D97-AF65-F5344CB8AC3E}">
        <p14:creationId xmlns:p14="http://schemas.microsoft.com/office/powerpoint/2010/main" val="92818383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6C6A2C5-3329-2654-82F5-BA16EA1A1106}"/>
              </a:ext>
            </a:extLst>
          </p:cNvPr>
          <p:cNvSpPr>
            <a:spLocks noGrp="1"/>
          </p:cNvSpPr>
          <p:nvPr>
            <p:ph type="title"/>
          </p:nvPr>
        </p:nvSpPr>
        <p:spPr>
          <a:xfrm>
            <a:off x="831850" y="1709738"/>
            <a:ext cx="10515600" cy="2852737"/>
          </a:xfrm>
        </p:spPr>
        <p:txBody>
          <a:bodyPr anchor="b"/>
          <a:lstStyle>
            <a:lvl1pPr>
              <a:defRPr sz="6000"/>
            </a:lvl1pPr>
          </a:lstStyle>
          <a:p>
            <a:r>
              <a:rPr lang="pt-BR"/>
              <a:t>Clique para editar o título Mestre</a:t>
            </a:r>
          </a:p>
        </p:txBody>
      </p:sp>
      <p:sp>
        <p:nvSpPr>
          <p:cNvPr id="3" name="Espaço Reservado para Texto 2">
            <a:extLst>
              <a:ext uri="{FF2B5EF4-FFF2-40B4-BE49-F238E27FC236}">
                <a16:creationId xmlns:a16="http://schemas.microsoft.com/office/drawing/2014/main" id="{14F8569C-6A15-2D0C-FD75-59953FB2FC0B}"/>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pt-BR"/>
              <a:t>Clique para editar os estilos de texto Mestres</a:t>
            </a:r>
          </a:p>
        </p:txBody>
      </p:sp>
      <p:sp>
        <p:nvSpPr>
          <p:cNvPr id="4" name="Espaço Reservado para Data 3">
            <a:extLst>
              <a:ext uri="{FF2B5EF4-FFF2-40B4-BE49-F238E27FC236}">
                <a16:creationId xmlns:a16="http://schemas.microsoft.com/office/drawing/2014/main" id="{7D8FFEC8-A71B-29DA-B2B1-55D692D1F06D}"/>
              </a:ext>
            </a:extLst>
          </p:cNvPr>
          <p:cNvSpPr>
            <a:spLocks noGrp="1"/>
          </p:cNvSpPr>
          <p:nvPr>
            <p:ph type="dt" sz="half" idx="10"/>
          </p:nvPr>
        </p:nvSpPr>
        <p:spPr/>
        <p:txBody>
          <a:bodyPr/>
          <a:lstStyle/>
          <a:p>
            <a:fld id="{65B4EC1A-3C8A-40B3-9A34-7FD9536B0A72}" type="datetimeFigureOut">
              <a:rPr lang="pt-BR" smtClean="0"/>
              <a:t>11/05/2026</a:t>
            </a:fld>
            <a:endParaRPr lang="pt-BR"/>
          </a:p>
        </p:txBody>
      </p:sp>
      <p:sp>
        <p:nvSpPr>
          <p:cNvPr id="5" name="Espaço Reservado para Rodapé 4">
            <a:extLst>
              <a:ext uri="{FF2B5EF4-FFF2-40B4-BE49-F238E27FC236}">
                <a16:creationId xmlns:a16="http://schemas.microsoft.com/office/drawing/2014/main" id="{D7F37442-EB99-581D-F723-01C4CF6302A6}"/>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DFBE588F-C6F8-0267-55E6-B2A1F262C776}"/>
              </a:ext>
            </a:extLst>
          </p:cNvPr>
          <p:cNvSpPr>
            <a:spLocks noGrp="1"/>
          </p:cNvSpPr>
          <p:nvPr>
            <p:ph type="sldNum" sz="quarter" idx="12"/>
          </p:nvPr>
        </p:nvSpPr>
        <p:spPr/>
        <p:txBody>
          <a:bodyPr/>
          <a:lstStyle/>
          <a:p>
            <a:fld id="{7552F7E6-A746-4507-91DC-D17E96079A1D}" type="slidenum">
              <a:rPr lang="pt-BR" smtClean="0"/>
              <a:t>‹nº›</a:t>
            </a:fld>
            <a:endParaRPr lang="pt-BR"/>
          </a:p>
        </p:txBody>
      </p:sp>
    </p:spTree>
    <p:extLst>
      <p:ext uri="{BB962C8B-B14F-4D97-AF65-F5344CB8AC3E}">
        <p14:creationId xmlns:p14="http://schemas.microsoft.com/office/powerpoint/2010/main" val="101974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0DCCE51-5D37-E34E-82DC-1B7E1A8EB1F2}"/>
              </a:ext>
            </a:extLst>
          </p:cNvPr>
          <p:cNvSpPr>
            <a:spLocks noGrp="1"/>
          </p:cNvSpPr>
          <p:nvPr>
            <p:ph type="title"/>
          </p:nvPr>
        </p:nvSpPr>
        <p:spPr/>
        <p:txBody>
          <a:bodyPr/>
          <a:lstStyle/>
          <a:p>
            <a:r>
              <a:rPr lang="pt-BR"/>
              <a:t>Clique para editar o título Mestre</a:t>
            </a:r>
          </a:p>
        </p:txBody>
      </p:sp>
      <p:sp>
        <p:nvSpPr>
          <p:cNvPr id="3" name="Espaço Reservado para Conteúdo 2">
            <a:extLst>
              <a:ext uri="{FF2B5EF4-FFF2-40B4-BE49-F238E27FC236}">
                <a16:creationId xmlns:a16="http://schemas.microsoft.com/office/drawing/2014/main" id="{A60CEAAA-4217-102B-2BCC-2C5DFE2D40AD}"/>
              </a:ext>
            </a:extLst>
          </p:cNvPr>
          <p:cNvSpPr>
            <a:spLocks noGrp="1"/>
          </p:cNvSpPr>
          <p:nvPr>
            <p:ph sz="half" idx="1"/>
          </p:nvPr>
        </p:nvSpPr>
        <p:spPr>
          <a:xfrm>
            <a:off x="838200" y="1825625"/>
            <a:ext cx="5181600" cy="435133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a:extLst>
              <a:ext uri="{FF2B5EF4-FFF2-40B4-BE49-F238E27FC236}">
                <a16:creationId xmlns:a16="http://schemas.microsoft.com/office/drawing/2014/main" id="{706F802B-8402-7C2D-6AF9-7EAFFE781431}"/>
              </a:ext>
            </a:extLst>
          </p:cNvPr>
          <p:cNvSpPr>
            <a:spLocks noGrp="1"/>
          </p:cNvSpPr>
          <p:nvPr>
            <p:ph sz="half" idx="2"/>
          </p:nvPr>
        </p:nvSpPr>
        <p:spPr>
          <a:xfrm>
            <a:off x="6172200" y="1825625"/>
            <a:ext cx="5181600" cy="435133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Data 4">
            <a:extLst>
              <a:ext uri="{FF2B5EF4-FFF2-40B4-BE49-F238E27FC236}">
                <a16:creationId xmlns:a16="http://schemas.microsoft.com/office/drawing/2014/main" id="{BC815589-84AB-734E-F10C-E895B202A15C}"/>
              </a:ext>
            </a:extLst>
          </p:cNvPr>
          <p:cNvSpPr>
            <a:spLocks noGrp="1"/>
          </p:cNvSpPr>
          <p:nvPr>
            <p:ph type="dt" sz="half" idx="10"/>
          </p:nvPr>
        </p:nvSpPr>
        <p:spPr/>
        <p:txBody>
          <a:bodyPr/>
          <a:lstStyle/>
          <a:p>
            <a:fld id="{65B4EC1A-3C8A-40B3-9A34-7FD9536B0A72}" type="datetimeFigureOut">
              <a:rPr lang="pt-BR" smtClean="0"/>
              <a:t>11/05/2026</a:t>
            </a:fld>
            <a:endParaRPr lang="pt-BR"/>
          </a:p>
        </p:txBody>
      </p:sp>
      <p:sp>
        <p:nvSpPr>
          <p:cNvPr id="6" name="Espaço Reservado para Rodapé 5">
            <a:extLst>
              <a:ext uri="{FF2B5EF4-FFF2-40B4-BE49-F238E27FC236}">
                <a16:creationId xmlns:a16="http://schemas.microsoft.com/office/drawing/2014/main" id="{8E2EE115-D777-03F3-D575-8B9A579AB1F6}"/>
              </a:ext>
            </a:extLst>
          </p:cNvPr>
          <p:cNvSpPr>
            <a:spLocks noGrp="1"/>
          </p:cNvSpPr>
          <p:nvPr>
            <p:ph type="ftr" sz="quarter" idx="11"/>
          </p:nvPr>
        </p:nvSpPr>
        <p:spPr/>
        <p:txBody>
          <a:bodyPr/>
          <a:lstStyle/>
          <a:p>
            <a:endParaRPr lang="pt-BR"/>
          </a:p>
        </p:txBody>
      </p:sp>
      <p:sp>
        <p:nvSpPr>
          <p:cNvPr id="7" name="Espaço Reservado para Número de Slide 6">
            <a:extLst>
              <a:ext uri="{FF2B5EF4-FFF2-40B4-BE49-F238E27FC236}">
                <a16:creationId xmlns:a16="http://schemas.microsoft.com/office/drawing/2014/main" id="{0D772278-EE9E-62BA-F027-3098253136C7}"/>
              </a:ext>
            </a:extLst>
          </p:cNvPr>
          <p:cNvSpPr>
            <a:spLocks noGrp="1"/>
          </p:cNvSpPr>
          <p:nvPr>
            <p:ph type="sldNum" sz="quarter" idx="12"/>
          </p:nvPr>
        </p:nvSpPr>
        <p:spPr/>
        <p:txBody>
          <a:bodyPr/>
          <a:lstStyle/>
          <a:p>
            <a:fld id="{7552F7E6-A746-4507-91DC-D17E96079A1D}" type="slidenum">
              <a:rPr lang="pt-BR" smtClean="0"/>
              <a:t>‹nº›</a:t>
            </a:fld>
            <a:endParaRPr lang="pt-BR"/>
          </a:p>
        </p:txBody>
      </p:sp>
    </p:spTree>
    <p:extLst>
      <p:ext uri="{BB962C8B-B14F-4D97-AF65-F5344CB8AC3E}">
        <p14:creationId xmlns:p14="http://schemas.microsoft.com/office/powerpoint/2010/main" val="97698613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37D5765-535E-27E8-66E9-5D25142B44D7}"/>
              </a:ext>
            </a:extLst>
          </p:cNvPr>
          <p:cNvSpPr>
            <a:spLocks noGrp="1"/>
          </p:cNvSpPr>
          <p:nvPr>
            <p:ph type="title"/>
          </p:nvPr>
        </p:nvSpPr>
        <p:spPr>
          <a:xfrm>
            <a:off x="839788" y="365125"/>
            <a:ext cx="10515600" cy="1325563"/>
          </a:xfrm>
        </p:spPr>
        <p:txBody>
          <a:bodyPr/>
          <a:lstStyle/>
          <a:p>
            <a:r>
              <a:rPr lang="pt-BR"/>
              <a:t>Clique para editar o título Mestre</a:t>
            </a:r>
          </a:p>
        </p:txBody>
      </p:sp>
      <p:sp>
        <p:nvSpPr>
          <p:cNvPr id="3" name="Espaço Reservado para Texto 2">
            <a:extLst>
              <a:ext uri="{FF2B5EF4-FFF2-40B4-BE49-F238E27FC236}">
                <a16:creationId xmlns:a16="http://schemas.microsoft.com/office/drawing/2014/main" id="{78323861-015B-53E8-9839-244CA268ADB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e texto Mestres</a:t>
            </a:r>
          </a:p>
        </p:txBody>
      </p:sp>
      <p:sp>
        <p:nvSpPr>
          <p:cNvPr id="4" name="Espaço Reservado para Conteúdo 3">
            <a:extLst>
              <a:ext uri="{FF2B5EF4-FFF2-40B4-BE49-F238E27FC236}">
                <a16:creationId xmlns:a16="http://schemas.microsoft.com/office/drawing/2014/main" id="{176901F3-2CDA-BAA1-601B-496E1C61EA76}"/>
              </a:ext>
            </a:extLst>
          </p:cNvPr>
          <p:cNvSpPr>
            <a:spLocks noGrp="1"/>
          </p:cNvSpPr>
          <p:nvPr>
            <p:ph sz="half" idx="2"/>
          </p:nvPr>
        </p:nvSpPr>
        <p:spPr>
          <a:xfrm>
            <a:off x="839788" y="2505075"/>
            <a:ext cx="5157787" cy="368458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Texto 4">
            <a:extLst>
              <a:ext uri="{FF2B5EF4-FFF2-40B4-BE49-F238E27FC236}">
                <a16:creationId xmlns:a16="http://schemas.microsoft.com/office/drawing/2014/main" id="{71F00823-CA55-3893-95D9-13B7F8CAB58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e texto Mestres</a:t>
            </a:r>
          </a:p>
        </p:txBody>
      </p:sp>
      <p:sp>
        <p:nvSpPr>
          <p:cNvPr id="6" name="Espaço Reservado para Conteúdo 5">
            <a:extLst>
              <a:ext uri="{FF2B5EF4-FFF2-40B4-BE49-F238E27FC236}">
                <a16:creationId xmlns:a16="http://schemas.microsoft.com/office/drawing/2014/main" id="{9D8705FE-669D-EF7C-B185-789A2C02B208}"/>
              </a:ext>
            </a:extLst>
          </p:cNvPr>
          <p:cNvSpPr>
            <a:spLocks noGrp="1"/>
          </p:cNvSpPr>
          <p:nvPr>
            <p:ph sz="quarter" idx="4"/>
          </p:nvPr>
        </p:nvSpPr>
        <p:spPr>
          <a:xfrm>
            <a:off x="6172200" y="2505075"/>
            <a:ext cx="5183188" cy="368458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7" name="Espaço Reservado para Data 6">
            <a:extLst>
              <a:ext uri="{FF2B5EF4-FFF2-40B4-BE49-F238E27FC236}">
                <a16:creationId xmlns:a16="http://schemas.microsoft.com/office/drawing/2014/main" id="{CF0FAA1E-0C0B-5ACD-BBAA-7161D41732C2}"/>
              </a:ext>
            </a:extLst>
          </p:cNvPr>
          <p:cNvSpPr>
            <a:spLocks noGrp="1"/>
          </p:cNvSpPr>
          <p:nvPr>
            <p:ph type="dt" sz="half" idx="10"/>
          </p:nvPr>
        </p:nvSpPr>
        <p:spPr/>
        <p:txBody>
          <a:bodyPr/>
          <a:lstStyle/>
          <a:p>
            <a:fld id="{65B4EC1A-3C8A-40B3-9A34-7FD9536B0A72}" type="datetimeFigureOut">
              <a:rPr lang="pt-BR" smtClean="0"/>
              <a:t>11/05/2026</a:t>
            </a:fld>
            <a:endParaRPr lang="pt-BR"/>
          </a:p>
        </p:txBody>
      </p:sp>
      <p:sp>
        <p:nvSpPr>
          <p:cNvPr id="8" name="Espaço Reservado para Rodapé 7">
            <a:extLst>
              <a:ext uri="{FF2B5EF4-FFF2-40B4-BE49-F238E27FC236}">
                <a16:creationId xmlns:a16="http://schemas.microsoft.com/office/drawing/2014/main" id="{C6B75AD1-F9BD-6E84-87A7-E8FC1B849ED2}"/>
              </a:ext>
            </a:extLst>
          </p:cNvPr>
          <p:cNvSpPr>
            <a:spLocks noGrp="1"/>
          </p:cNvSpPr>
          <p:nvPr>
            <p:ph type="ftr" sz="quarter" idx="11"/>
          </p:nvPr>
        </p:nvSpPr>
        <p:spPr/>
        <p:txBody>
          <a:bodyPr/>
          <a:lstStyle/>
          <a:p>
            <a:endParaRPr lang="pt-BR"/>
          </a:p>
        </p:txBody>
      </p:sp>
      <p:sp>
        <p:nvSpPr>
          <p:cNvPr id="9" name="Espaço Reservado para Número de Slide 8">
            <a:extLst>
              <a:ext uri="{FF2B5EF4-FFF2-40B4-BE49-F238E27FC236}">
                <a16:creationId xmlns:a16="http://schemas.microsoft.com/office/drawing/2014/main" id="{93514628-D3D7-7CC6-04A4-10F880FC9460}"/>
              </a:ext>
            </a:extLst>
          </p:cNvPr>
          <p:cNvSpPr>
            <a:spLocks noGrp="1"/>
          </p:cNvSpPr>
          <p:nvPr>
            <p:ph type="sldNum" sz="quarter" idx="12"/>
          </p:nvPr>
        </p:nvSpPr>
        <p:spPr/>
        <p:txBody>
          <a:bodyPr/>
          <a:lstStyle/>
          <a:p>
            <a:fld id="{7552F7E6-A746-4507-91DC-D17E96079A1D}" type="slidenum">
              <a:rPr lang="pt-BR" smtClean="0"/>
              <a:t>‹nº›</a:t>
            </a:fld>
            <a:endParaRPr lang="pt-BR"/>
          </a:p>
        </p:txBody>
      </p:sp>
    </p:spTree>
    <p:extLst>
      <p:ext uri="{BB962C8B-B14F-4D97-AF65-F5344CB8AC3E}">
        <p14:creationId xmlns:p14="http://schemas.microsoft.com/office/powerpoint/2010/main" val="274119235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1D1F6BF-E3EF-D9E9-1A6F-F3D2F16C5C46}"/>
              </a:ext>
            </a:extLst>
          </p:cNvPr>
          <p:cNvSpPr>
            <a:spLocks noGrp="1"/>
          </p:cNvSpPr>
          <p:nvPr>
            <p:ph type="title"/>
          </p:nvPr>
        </p:nvSpPr>
        <p:spPr/>
        <p:txBody>
          <a:bodyPr/>
          <a:lstStyle/>
          <a:p>
            <a:r>
              <a:rPr lang="pt-BR"/>
              <a:t>Clique para editar o título Mestre</a:t>
            </a:r>
          </a:p>
        </p:txBody>
      </p:sp>
      <p:sp>
        <p:nvSpPr>
          <p:cNvPr id="3" name="Espaço Reservado para Data 2">
            <a:extLst>
              <a:ext uri="{FF2B5EF4-FFF2-40B4-BE49-F238E27FC236}">
                <a16:creationId xmlns:a16="http://schemas.microsoft.com/office/drawing/2014/main" id="{16F5243F-8899-6EBD-D35A-6C7EC91A3785}"/>
              </a:ext>
            </a:extLst>
          </p:cNvPr>
          <p:cNvSpPr>
            <a:spLocks noGrp="1"/>
          </p:cNvSpPr>
          <p:nvPr>
            <p:ph type="dt" sz="half" idx="10"/>
          </p:nvPr>
        </p:nvSpPr>
        <p:spPr/>
        <p:txBody>
          <a:bodyPr/>
          <a:lstStyle/>
          <a:p>
            <a:fld id="{65B4EC1A-3C8A-40B3-9A34-7FD9536B0A72}" type="datetimeFigureOut">
              <a:rPr lang="pt-BR" smtClean="0"/>
              <a:t>11/05/2026</a:t>
            </a:fld>
            <a:endParaRPr lang="pt-BR"/>
          </a:p>
        </p:txBody>
      </p:sp>
      <p:sp>
        <p:nvSpPr>
          <p:cNvPr id="4" name="Espaço Reservado para Rodapé 3">
            <a:extLst>
              <a:ext uri="{FF2B5EF4-FFF2-40B4-BE49-F238E27FC236}">
                <a16:creationId xmlns:a16="http://schemas.microsoft.com/office/drawing/2014/main" id="{F58FC595-CF6C-5A7F-C08D-9AB2E6231B13}"/>
              </a:ext>
            </a:extLst>
          </p:cNvPr>
          <p:cNvSpPr>
            <a:spLocks noGrp="1"/>
          </p:cNvSpPr>
          <p:nvPr>
            <p:ph type="ftr" sz="quarter" idx="11"/>
          </p:nvPr>
        </p:nvSpPr>
        <p:spPr/>
        <p:txBody>
          <a:bodyPr/>
          <a:lstStyle/>
          <a:p>
            <a:endParaRPr lang="pt-BR"/>
          </a:p>
        </p:txBody>
      </p:sp>
      <p:sp>
        <p:nvSpPr>
          <p:cNvPr id="5" name="Espaço Reservado para Número de Slide 4">
            <a:extLst>
              <a:ext uri="{FF2B5EF4-FFF2-40B4-BE49-F238E27FC236}">
                <a16:creationId xmlns:a16="http://schemas.microsoft.com/office/drawing/2014/main" id="{FCC64BD0-9206-1703-5856-85C3F430A485}"/>
              </a:ext>
            </a:extLst>
          </p:cNvPr>
          <p:cNvSpPr>
            <a:spLocks noGrp="1"/>
          </p:cNvSpPr>
          <p:nvPr>
            <p:ph type="sldNum" sz="quarter" idx="12"/>
          </p:nvPr>
        </p:nvSpPr>
        <p:spPr/>
        <p:txBody>
          <a:bodyPr/>
          <a:lstStyle/>
          <a:p>
            <a:fld id="{7552F7E6-A746-4507-91DC-D17E96079A1D}" type="slidenum">
              <a:rPr lang="pt-BR" smtClean="0"/>
              <a:t>‹nº›</a:t>
            </a:fld>
            <a:endParaRPr lang="pt-BR"/>
          </a:p>
        </p:txBody>
      </p:sp>
    </p:spTree>
    <p:extLst>
      <p:ext uri="{BB962C8B-B14F-4D97-AF65-F5344CB8AC3E}">
        <p14:creationId xmlns:p14="http://schemas.microsoft.com/office/powerpoint/2010/main" val="887789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F919EFD-4281-D9EC-271F-F4DB66A09AEE}"/>
              </a:ext>
            </a:extLst>
          </p:cNvPr>
          <p:cNvSpPr>
            <a:spLocks noGrp="1"/>
          </p:cNvSpPr>
          <p:nvPr>
            <p:ph type="title"/>
          </p:nvPr>
        </p:nvSpPr>
        <p:spPr/>
        <p:txBody>
          <a:bodyPr/>
          <a:lstStyle/>
          <a:p>
            <a:r>
              <a:rPr lang="pt-BR"/>
              <a:t>Clique para editar o título Mestre</a:t>
            </a:r>
          </a:p>
        </p:txBody>
      </p:sp>
      <p:sp>
        <p:nvSpPr>
          <p:cNvPr id="3" name="Espaço Reservado para Conteúdo 2">
            <a:extLst>
              <a:ext uri="{FF2B5EF4-FFF2-40B4-BE49-F238E27FC236}">
                <a16:creationId xmlns:a16="http://schemas.microsoft.com/office/drawing/2014/main" id="{A1B7585E-5DE1-4A59-4418-4D97B2C00B81}"/>
              </a:ext>
            </a:extLst>
          </p:cNvPr>
          <p:cNvSpPr>
            <a:spLocks noGrp="1"/>
          </p:cNvSpPr>
          <p:nvPr>
            <p:ph idx="1"/>
          </p:nvPr>
        </p:nvSpPr>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0ADC5F69-ACA2-CB2E-9A72-4183DCC15CFE}"/>
              </a:ext>
            </a:extLst>
          </p:cNvPr>
          <p:cNvSpPr>
            <a:spLocks noGrp="1"/>
          </p:cNvSpPr>
          <p:nvPr>
            <p:ph type="dt" sz="half" idx="10"/>
          </p:nvPr>
        </p:nvSpPr>
        <p:spPr/>
        <p:txBody>
          <a:bodyPr/>
          <a:lstStyle/>
          <a:p>
            <a:fld id="{469AC970-D5BA-4C8F-B1E1-CD031371C8D9}" type="datetimeFigureOut">
              <a:rPr lang="pt-BR" smtClean="0"/>
              <a:t>11/05/2026</a:t>
            </a:fld>
            <a:endParaRPr lang="pt-BR"/>
          </a:p>
        </p:txBody>
      </p:sp>
      <p:sp>
        <p:nvSpPr>
          <p:cNvPr id="5" name="Espaço Reservado para Rodapé 4">
            <a:extLst>
              <a:ext uri="{FF2B5EF4-FFF2-40B4-BE49-F238E27FC236}">
                <a16:creationId xmlns:a16="http://schemas.microsoft.com/office/drawing/2014/main" id="{4A1F3472-02DE-154D-5442-86B349240F19}"/>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CED60805-6E59-F535-6DE5-75F8DD22423E}"/>
              </a:ext>
            </a:extLst>
          </p:cNvPr>
          <p:cNvSpPr>
            <a:spLocks noGrp="1"/>
          </p:cNvSpPr>
          <p:nvPr>
            <p:ph type="sldNum" sz="quarter" idx="12"/>
          </p:nvPr>
        </p:nvSpPr>
        <p:spPr/>
        <p:txBody>
          <a:bodyPr/>
          <a:lstStyle/>
          <a:p>
            <a:fld id="{C2DC0A5C-548C-4DDD-B0B9-C90FCFE2B2B1}" type="slidenum">
              <a:rPr lang="pt-BR" smtClean="0"/>
              <a:t>‹nº›</a:t>
            </a:fld>
            <a:endParaRPr lang="pt-BR"/>
          </a:p>
        </p:txBody>
      </p:sp>
    </p:spTree>
    <p:extLst>
      <p:ext uri="{BB962C8B-B14F-4D97-AF65-F5344CB8AC3E}">
        <p14:creationId xmlns:p14="http://schemas.microsoft.com/office/powerpoint/2010/main" val="20219980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a:extLst>
              <a:ext uri="{FF2B5EF4-FFF2-40B4-BE49-F238E27FC236}">
                <a16:creationId xmlns:a16="http://schemas.microsoft.com/office/drawing/2014/main" id="{FD06D36A-C6EC-6EE1-06FC-9AFA1FF6A15E}"/>
              </a:ext>
            </a:extLst>
          </p:cNvPr>
          <p:cNvSpPr>
            <a:spLocks noGrp="1"/>
          </p:cNvSpPr>
          <p:nvPr>
            <p:ph type="dt" sz="half" idx="10"/>
          </p:nvPr>
        </p:nvSpPr>
        <p:spPr/>
        <p:txBody>
          <a:bodyPr/>
          <a:lstStyle/>
          <a:p>
            <a:fld id="{65B4EC1A-3C8A-40B3-9A34-7FD9536B0A72}" type="datetimeFigureOut">
              <a:rPr lang="pt-BR" smtClean="0"/>
              <a:t>11/05/2026</a:t>
            </a:fld>
            <a:endParaRPr lang="pt-BR"/>
          </a:p>
        </p:txBody>
      </p:sp>
      <p:sp>
        <p:nvSpPr>
          <p:cNvPr id="3" name="Espaço Reservado para Rodapé 2">
            <a:extLst>
              <a:ext uri="{FF2B5EF4-FFF2-40B4-BE49-F238E27FC236}">
                <a16:creationId xmlns:a16="http://schemas.microsoft.com/office/drawing/2014/main" id="{02C93A29-1D58-824E-A02C-19F8821B0FC3}"/>
              </a:ext>
            </a:extLst>
          </p:cNvPr>
          <p:cNvSpPr>
            <a:spLocks noGrp="1"/>
          </p:cNvSpPr>
          <p:nvPr>
            <p:ph type="ftr" sz="quarter" idx="11"/>
          </p:nvPr>
        </p:nvSpPr>
        <p:spPr/>
        <p:txBody>
          <a:bodyPr/>
          <a:lstStyle/>
          <a:p>
            <a:endParaRPr lang="pt-BR"/>
          </a:p>
        </p:txBody>
      </p:sp>
      <p:sp>
        <p:nvSpPr>
          <p:cNvPr id="4" name="Espaço Reservado para Número de Slide 3">
            <a:extLst>
              <a:ext uri="{FF2B5EF4-FFF2-40B4-BE49-F238E27FC236}">
                <a16:creationId xmlns:a16="http://schemas.microsoft.com/office/drawing/2014/main" id="{26004B56-0BD9-45DE-E7FD-F992A318A6E3}"/>
              </a:ext>
            </a:extLst>
          </p:cNvPr>
          <p:cNvSpPr>
            <a:spLocks noGrp="1"/>
          </p:cNvSpPr>
          <p:nvPr>
            <p:ph type="sldNum" sz="quarter" idx="12"/>
          </p:nvPr>
        </p:nvSpPr>
        <p:spPr/>
        <p:txBody>
          <a:bodyPr/>
          <a:lstStyle/>
          <a:p>
            <a:fld id="{7552F7E6-A746-4507-91DC-D17E96079A1D}" type="slidenum">
              <a:rPr lang="pt-BR" smtClean="0"/>
              <a:t>‹nº›</a:t>
            </a:fld>
            <a:endParaRPr lang="pt-BR"/>
          </a:p>
        </p:txBody>
      </p:sp>
    </p:spTree>
    <p:extLst>
      <p:ext uri="{BB962C8B-B14F-4D97-AF65-F5344CB8AC3E}">
        <p14:creationId xmlns:p14="http://schemas.microsoft.com/office/powerpoint/2010/main" val="19582101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17F5B50-B929-3E27-7205-AEB6186766B5}"/>
              </a:ext>
            </a:extLst>
          </p:cNvPr>
          <p:cNvSpPr>
            <a:spLocks noGrp="1"/>
          </p:cNvSpPr>
          <p:nvPr>
            <p:ph type="title"/>
          </p:nvPr>
        </p:nvSpPr>
        <p:spPr>
          <a:xfrm>
            <a:off x="839788" y="457200"/>
            <a:ext cx="3932237" cy="1600200"/>
          </a:xfrm>
        </p:spPr>
        <p:txBody>
          <a:bodyPr anchor="b"/>
          <a:lstStyle>
            <a:lvl1pPr>
              <a:defRPr sz="3200"/>
            </a:lvl1pPr>
          </a:lstStyle>
          <a:p>
            <a:r>
              <a:rPr lang="pt-BR"/>
              <a:t>Clique para editar o título Mestre</a:t>
            </a:r>
          </a:p>
        </p:txBody>
      </p:sp>
      <p:sp>
        <p:nvSpPr>
          <p:cNvPr id="3" name="Espaço Reservado para Conteúdo 2">
            <a:extLst>
              <a:ext uri="{FF2B5EF4-FFF2-40B4-BE49-F238E27FC236}">
                <a16:creationId xmlns:a16="http://schemas.microsoft.com/office/drawing/2014/main" id="{1C374ABF-34D8-43B0-6C99-BDD831D6B38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Texto 3">
            <a:extLst>
              <a:ext uri="{FF2B5EF4-FFF2-40B4-BE49-F238E27FC236}">
                <a16:creationId xmlns:a16="http://schemas.microsoft.com/office/drawing/2014/main" id="{ED861968-3410-D5A6-B3DF-087820B280D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Clique para editar os estilos de texto Mestres</a:t>
            </a:r>
          </a:p>
        </p:txBody>
      </p:sp>
      <p:sp>
        <p:nvSpPr>
          <p:cNvPr id="5" name="Espaço Reservado para Data 4">
            <a:extLst>
              <a:ext uri="{FF2B5EF4-FFF2-40B4-BE49-F238E27FC236}">
                <a16:creationId xmlns:a16="http://schemas.microsoft.com/office/drawing/2014/main" id="{9F87F6D2-5804-0FF4-D860-2BDFF8DCCCD4}"/>
              </a:ext>
            </a:extLst>
          </p:cNvPr>
          <p:cNvSpPr>
            <a:spLocks noGrp="1"/>
          </p:cNvSpPr>
          <p:nvPr>
            <p:ph type="dt" sz="half" idx="10"/>
          </p:nvPr>
        </p:nvSpPr>
        <p:spPr/>
        <p:txBody>
          <a:bodyPr/>
          <a:lstStyle/>
          <a:p>
            <a:fld id="{65B4EC1A-3C8A-40B3-9A34-7FD9536B0A72}" type="datetimeFigureOut">
              <a:rPr lang="pt-BR" smtClean="0"/>
              <a:t>11/05/2026</a:t>
            </a:fld>
            <a:endParaRPr lang="pt-BR"/>
          </a:p>
        </p:txBody>
      </p:sp>
      <p:sp>
        <p:nvSpPr>
          <p:cNvPr id="6" name="Espaço Reservado para Rodapé 5">
            <a:extLst>
              <a:ext uri="{FF2B5EF4-FFF2-40B4-BE49-F238E27FC236}">
                <a16:creationId xmlns:a16="http://schemas.microsoft.com/office/drawing/2014/main" id="{D1F80373-CA7D-6326-9E18-48B6C4285E05}"/>
              </a:ext>
            </a:extLst>
          </p:cNvPr>
          <p:cNvSpPr>
            <a:spLocks noGrp="1"/>
          </p:cNvSpPr>
          <p:nvPr>
            <p:ph type="ftr" sz="quarter" idx="11"/>
          </p:nvPr>
        </p:nvSpPr>
        <p:spPr/>
        <p:txBody>
          <a:bodyPr/>
          <a:lstStyle/>
          <a:p>
            <a:endParaRPr lang="pt-BR"/>
          </a:p>
        </p:txBody>
      </p:sp>
      <p:sp>
        <p:nvSpPr>
          <p:cNvPr id="7" name="Espaço Reservado para Número de Slide 6">
            <a:extLst>
              <a:ext uri="{FF2B5EF4-FFF2-40B4-BE49-F238E27FC236}">
                <a16:creationId xmlns:a16="http://schemas.microsoft.com/office/drawing/2014/main" id="{6F82A0D3-8879-3D49-6314-9D1ABF743941}"/>
              </a:ext>
            </a:extLst>
          </p:cNvPr>
          <p:cNvSpPr>
            <a:spLocks noGrp="1"/>
          </p:cNvSpPr>
          <p:nvPr>
            <p:ph type="sldNum" sz="quarter" idx="12"/>
          </p:nvPr>
        </p:nvSpPr>
        <p:spPr/>
        <p:txBody>
          <a:bodyPr/>
          <a:lstStyle/>
          <a:p>
            <a:fld id="{7552F7E6-A746-4507-91DC-D17E96079A1D}" type="slidenum">
              <a:rPr lang="pt-BR" smtClean="0"/>
              <a:t>‹nº›</a:t>
            </a:fld>
            <a:endParaRPr lang="pt-BR"/>
          </a:p>
        </p:txBody>
      </p:sp>
    </p:spTree>
    <p:extLst>
      <p:ext uri="{BB962C8B-B14F-4D97-AF65-F5344CB8AC3E}">
        <p14:creationId xmlns:p14="http://schemas.microsoft.com/office/powerpoint/2010/main" val="8649468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86F3B52-60FA-5637-B870-4BF72A9BCA81}"/>
              </a:ext>
            </a:extLst>
          </p:cNvPr>
          <p:cNvSpPr>
            <a:spLocks noGrp="1"/>
          </p:cNvSpPr>
          <p:nvPr>
            <p:ph type="title"/>
          </p:nvPr>
        </p:nvSpPr>
        <p:spPr>
          <a:xfrm>
            <a:off x="839788" y="457200"/>
            <a:ext cx="3932237" cy="1600200"/>
          </a:xfrm>
        </p:spPr>
        <p:txBody>
          <a:bodyPr anchor="b"/>
          <a:lstStyle>
            <a:lvl1pPr>
              <a:defRPr sz="3200"/>
            </a:lvl1pPr>
          </a:lstStyle>
          <a:p>
            <a:r>
              <a:rPr lang="pt-BR"/>
              <a:t>Clique para editar o título Mestre</a:t>
            </a:r>
          </a:p>
        </p:txBody>
      </p:sp>
      <p:sp>
        <p:nvSpPr>
          <p:cNvPr id="3" name="Espaço Reservado para Imagem 2">
            <a:extLst>
              <a:ext uri="{FF2B5EF4-FFF2-40B4-BE49-F238E27FC236}">
                <a16:creationId xmlns:a16="http://schemas.microsoft.com/office/drawing/2014/main" id="{C21F8F4E-73D8-91E5-2DB7-A65E33DDD71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t-BR"/>
          </a:p>
        </p:txBody>
      </p:sp>
      <p:sp>
        <p:nvSpPr>
          <p:cNvPr id="4" name="Espaço Reservado para Texto 3">
            <a:extLst>
              <a:ext uri="{FF2B5EF4-FFF2-40B4-BE49-F238E27FC236}">
                <a16:creationId xmlns:a16="http://schemas.microsoft.com/office/drawing/2014/main" id="{B035E2DA-D84D-44D3-173E-5BA22602DB3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Clique para editar os estilos de texto Mestres</a:t>
            </a:r>
          </a:p>
        </p:txBody>
      </p:sp>
      <p:sp>
        <p:nvSpPr>
          <p:cNvPr id="5" name="Espaço Reservado para Data 4">
            <a:extLst>
              <a:ext uri="{FF2B5EF4-FFF2-40B4-BE49-F238E27FC236}">
                <a16:creationId xmlns:a16="http://schemas.microsoft.com/office/drawing/2014/main" id="{6751BE31-3C53-FCAE-2593-7DAFF89F31BA}"/>
              </a:ext>
            </a:extLst>
          </p:cNvPr>
          <p:cNvSpPr>
            <a:spLocks noGrp="1"/>
          </p:cNvSpPr>
          <p:nvPr>
            <p:ph type="dt" sz="half" idx="10"/>
          </p:nvPr>
        </p:nvSpPr>
        <p:spPr/>
        <p:txBody>
          <a:bodyPr/>
          <a:lstStyle/>
          <a:p>
            <a:fld id="{65B4EC1A-3C8A-40B3-9A34-7FD9536B0A72}" type="datetimeFigureOut">
              <a:rPr lang="pt-BR" smtClean="0"/>
              <a:t>11/05/2026</a:t>
            </a:fld>
            <a:endParaRPr lang="pt-BR"/>
          </a:p>
        </p:txBody>
      </p:sp>
      <p:sp>
        <p:nvSpPr>
          <p:cNvPr id="6" name="Espaço Reservado para Rodapé 5">
            <a:extLst>
              <a:ext uri="{FF2B5EF4-FFF2-40B4-BE49-F238E27FC236}">
                <a16:creationId xmlns:a16="http://schemas.microsoft.com/office/drawing/2014/main" id="{D30D3A89-A64E-439E-6DB0-8B589DACAA01}"/>
              </a:ext>
            </a:extLst>
          </p:cNvPr>
          <p:cNvSpPr>
            <a:spLocks noGrp="1"/>
          </p:cNvSpPr>
          <p:nvPr>
            <p:ph type="ftr" sz="quarter" idx="11"/>
          </p:nvPr>
        </p:nvSpPr>
        <p:spPr/>
        <p:txBody>
          <a:bodyPr/>
          <a:lstStyle/>
          <a:p>
            <a:endParaRPr lang="pt-BR"/>
          </a:p>
        </p:txBody>
      </p:sp>
      <p:sp>
        <p:nvSpPr>
          <p:cNvPr id="7" name="Espaço Reservado para Número de Slide 6">
            <a:extLst>
              <a:ext uri="{FF2B5EF4-FFF2-40B4-BE49-F238E27FC236}">
                <a16:creationId xmlns:a16="http://schemas.microsoft.com/office/drawing/2014/main" id="{DD4358E5-3244-896E-9CA0-AC9ED570321A}"/>
              </a:ext>
            </a:extLst>
          </p:cNvPr>
          <p:cNvSpPr>
            <a:spLocks noGrp="1"/>
          </p:cNvSpPr>
          <p:nvPr>
            <p:ph type="sldNum" sz="quarter" idx="12"/>
          </p:nvPr>
        </p:nvSpPr>
        <p:spPr/>
        <p:txBody>
          <a:bodyPr/>
          <a:lstStyle/>
          <a:p>
            <a:fld id="{7552F7E6-A746-4507-91DC-D17E96079A1D}" type="slidenum">
              <a:rPr lang="pt-BR" smtClean="0"/>
              <a:t>‹nº›</a:t>
            </a:fld>
            <a:endParaRPr lang="pt-BR"/>
          </a:p>
        </p:txBody>
      </p:sp>
    </p:spTree>
    <p:extLst>
      <p:ext uri="{BB962C8B-B14F-4D97-AF65-F5344CB8AC3E}">
        <p14:creationId xmlns:p14="http://schemas.microsoft.com/office/powerpoint/2010/main" val="327804969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98DFD84-9C50-F355-4340-A1B5005E579F}"/>
              </a:ext>
            </a:extLst>
          </p:cNvPr>
          <p:cNvSpPr>
            <a:spLocks noGrp="1"/>
          </p:cNvSpPr>
          <p:nvPr>
            <p:ph type="title"/>
          </p:nvPr>
        </p:nvSpPr>
        <p:spPr/>
        <p:txBody>
          <a:bodyPr/>
          <a:lstStyle/>
          <a:p>
            <a:r>
              <a:rPr lang="pt-BR"/>
              <a:t>Clique para editar o título Mestre</a:t>
            </a:r>
          </a:p>
        </p:txBody>
      </p:sp>
      <p:sp>
        <p:nvSpPr>
          <p:cNvPr id="3" name="Espaço Reservado para Texto Vertical 2">
            <a:extLst>
              <a:ext uri="{FF2B5EF4-FFF2-40B4-BE49-F238E27FC236}">
                <a16:creationId xmlns:a16="http://schemas.microsoft.com/office/drawing/2014/main" id="{099887B2-8FDC-A9DE-5341-1FAEB09992D0}"/>
              </a:ext>
            </a:extLst>
          </p:cNvPr>
          <p:cNvSpPr>
            <a:spLocks noGrp="1"/>
          </p:cNvSpPr>
          <p:nvPr>
            <p:ph type="body" orient="vert" idx="1"/>
          </p:nvPr>
        </p:nvSpPr>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E83CCD37-AD85-0B10-F104-4755A81A325A}"/>
              </a:ext>
            </a:extLst>
          </p:cNvPr>
          <p:cNvSpPr>
            <a:spLocks noGrp="1"/>
          </p:cNvSpPr>
          <p:nvPr>
            <p:ph type="dt" sz="half" idx="10"/>
          </p:nvPr>
        </p:nvSpPr>
        <p:spPr/>
        <p:txBody>
          <a:bodyPr/>
          <a:lstStyle/>
          <a:p>
            <a:fld id="{65B4EC1A-3C8A-40B3-9A34-7FD9536B0A72}" type="datetimeFigureOut">
              <a:rPr lang="pt-BR" smtClean="0"/>
              <a:t>11/05/2026</a:t>
            </a:fld>
            <a:endParaRPr lang="pt-BR"/>
          </a:p>
        </p:txBody>
      </p:sp>
      <p:sp>
        <p:nvSpPr>
          <p:cNvPr id="5" name="Espaço Reservado para Rodapé 4">
            <a:extLst>
              <a:ext uri="{FF2B5EF4-FFF2-40B4-BE49-F238E27FC236}">
                <a16:creationId xmlns:a16="http://schemas.microsoft.com/office/drawing/2014/main" id="{8C4353FB-B71A-3497-2EB8-7754E38648D1}"/>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6AF1D494-F7AB-1CBA-9599-7F2F5137E165}"/>
              </a:ext>
            </a:extLst>
          </p:cNvPr>
          <p:cNvSpPr>
            <a:spLocks noGrp="1"/>
          </p:cNvSpPr>
          <p:nvPr>
            <p:ph type="sldNum" sz="quarter" idx="12"/>
          </p:nvPr>
        </p:nvSpPr>
        <p:spPr/>
        <p:txBody>
          <a:bodyPr/>
          <a:lstStyle/>
          <a:p>
            <a:fld id="{7552F7E6-A746-4507-91DC-D17E96079A1D}" type="slidenum">
              <a:rPr lang="pt-BR" smtClean="0"/>
              <a:t>‹nº›</a:t>
            </a:fld>
            <a:endParaRPr lang="pt-BR"/>
          </a:p>
        </p:txBody>
      </p:sp>
    </p:spTree>
    <p:extLst>
      <p:ext uri="{BB962C8B-B14F-4D97-AF65-F5344CB8AC3E}">
        <p14:creationId xmlns:p14="http://schemas.microsoft.com/office/powerpoint/2010/main" val="53493072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Texto e Título Vertical">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051ACBFF-CFD4-951D-C949-93E07EDC7C67}"/>
              </a:ext>
            </a:extLst>
          </p:cNvPr>
          <p:cNvSpPr>
            <a:spLocks noGrp="1"/>
          </p:cNvSpPr>
          <p:nvPr>
            <p:ph type="title" orient="vert"/>
          </p:nvPr>
        </p:nvSpPr>
        <p:spPr>
          <a:xfrm>
            <a:off x="8724900" y="365125"/>
            <a:ext cx="2628900" cy="5811838"/>
          </a:xfrm>
        </p:spPr>
        <p:txBody>
          <a:bodyPr vert="eaVert"/>
          <a:lstStyle/>
          <a:p>
            <a:r>
              <a:rPr lang="pt-BR"/>
              <a:t>Clique para editar o título Mestre</a:t>
            </a:r>
          </a:p>
        </p:txBody>
      </p:sp>
      <p:sp>
        <p:nvSpPr>
          <p:cNvPr id="3" name="Espaço Reservado para Texto Vertical 2">
            <a:extLst>
              <a:ext uri="{FF2B5EF4-FFF2-40B4-BE49-F238E27FC236}">
                <a16:creationId xmlns:a16="http://schemas.microsoft.com/office/drawing/2014/main" id="{0E51AB9A-7EEF-5F73-EC97-5F31B82A00A4}"/>
              </a:ext>
            </a:extLst>
          </p:cNvPr>
          <p:cNvSpPr>
            <a:spLocks noGrp="1"/>
          </p:cNvSpPr>
          <p:nvPr>
            <p:ph type="body" orient="vert" idx="1"/>
          </p:nvPr>
        </p:nvSpPr>
        <p:spPr>
          <a:xfrm>
            <a:off x="838200" y="365125"/>
            <a:ext cx="7734300" cy="5811838"/>
          </a:xfrm>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2BEC4D81-0061-17FF-67F9-5D7C4F72EBED}"/>
              </a:ext>
            </a:extLst>
          </p:cNvPr>
          <p:cNvSpPr>
            <a:spLocks noGrp="1"/>
          </p:cNvSpPr>
          <p:nvPr>
            <p:ph type="dt" sz="half" idx="10"/>
          </p:nvPr>
        </p:nvSpPr>
        <p:spPr/>
        <p:txBody>
          <a:bodyPr/>
          <a:lstStyle/>
          <a:p>
            <a:fld id="{65B4EC1A-3C8A-40B3-9A34-7FD9536B0A72}" type="datetimeFigureOut">
              <a:rPr lang="pt-BR" smtClean="0"/>
              <a:t>11/05/2026</a:t>
            </a:fld>
            <a:endParaRPr lang="pt-BR"/>
          </a:p>
        </p:txBody>
      </p:sp>
      <p:sp>
        <p:nvSpPr>
          <p:cNvPr id="5" name="Espaço Reservado para Rodapé 4">
            <a:extLst>
              <a:ext uri="{FF2B5EF4-FFF2-40B4-BE49-F238E27FC236}">
                <a16:creationId xmlns:a16="http://schemas.microsoft.com/office/drawing/2014/main" id="{21F5376F-EE7C-8C84-E3A9-B6641153BE21}"/>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F632F16E-5035-F53E-5234-17C1B1F97EE6}"/>
              </a:ext>
            </a:extLst>
          </p:cNvPr>
          <p:cNvSpPr>
            <a:spLocks noGrp="1"/>
          </p:cNvSpPr>
          <p:nvPr>
            <p:ph type="sldNum" sz="quarter" idx="12"/>
          </p:nvPr>
        </p:nvSpPr>
        <p:spPr/>
        <p:txBody>
          <a:bodyPr/>
          <a:lstStyle/>
          <a:p>
            <a:fld id="{7552F7E6-A746-4507-91DC-D17E96079A1D}" type="slidenum">
              <a:rPr lang="pt-BR" smtClean="0"/>
              <a:t>‹nº›</a:t>
            </a:fld>
            <a:endParaRPr lang="pt-BR"/>
          </a:p>
        </p:txBody>
      </p:sp>
    </p:spTree>
    <p:extLst>
      <p:ext uri="{BB962C8B-B14F-4D97-AF65-F5344CB8AC3E}">
        <p14:creationId xmlns:p14="http://schemas.microsoft.com/office/powerpoint/2010/main" val="27595412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p:spPr>
        <p:txBody>
          <a:bodyPr anchor="b"/>
          <a:lstStyle>
            <a:lvl1pPr algn="ctr">
              <a:defRPr sz="6000">
                <a:latin typeface="Trebuchet MS" panose="020B0603020202020204" pitchFamily="34" charset="0"/>
              </a:defRPr>
            </a:lvl1pPr>
          </a:lstStyle>
          <a:p>
            <a:r>
              <a:rPr lang="pt-BR"/>
              <a:t>Clique para editar o título mestre</a:t>
            </a:r>
          </a:p>
        </p:txBody>
      </p:sp>
      <p:sp>
        <p:nvSpPr>
          <p:cNvPr id="3" name="Subtítulo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a:t>Clique para editar o estilo do subtítulo mestre</a:t>
            </a:r>
          </a:p>
        </p:txBody>
      </p:sp>
      <p:sp>
        <p:nvSpPr>
          <p:cNvPr id="4" name="Espaço Reservado para Data 3"/>
          <p:cNvSpPr>
            <a:spLocks noGrp="1"/>
          </p:cNvSpPr>
          <p:nvPr>
            <p:ph type="dt" sz="half" idx="10"/>
          </p:nvPr>
        </p:nvSpPr>
        <p:spPr/>
        <p:txBody>
          <a:bodyPr/>
          <a:lstStyle/>
          <a:p>
            <a:fld id="{4147567D-645F-47F3-AACE-4FE6D14F5CEC}" type="datetimeFigureOut">
              <a:rPr lang="pt-BR" smtClean="0"/>
              <a:t>11/05/2026</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787BF145-6CDA-4FDB-A3A7-D31A8AE7EBD0}" type="slidenum">
              <a:rPr lang="pt-BR" smtClean="0"/>
              <a:t>‹nº›</a:t>
            </a:fld>
            <a:endParaRPr lang="pt-BR"/>
          </a:p>
        </p:txBody>
      </p:sp>
    </p:spTree>
    <p:extLst>
      <p:ext uri="{BB962C8B-B14F-4D97-AF65-F5344CB8AC3E}">
        <p14:creationId xmlns:p14="http://schemas.microsoft.com/office/powerpoint/2010/main" val="35029024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lvl1pPr>
              <a:defRPr>
                <a:latin typeface="Trebuchet MS" panose="020B0603020202020204" pitchFamily="34" charset="0"/>
              </a:defRPr>
            </a:lvl1pPr>
          </a:lstStyle>
          <a:p>
            <a:r>
              <a:rPr lang="pt-BR"/>
              <a:t>Clique para editar o título mestre</a:t>
            </a:r>
          </a:p>
        </p:txBody>
      </p:sp>
      <p:sp>
        <p:nvSpPr>
          <p:cNvPr id="3" name="Espaço Reservado para Conteúdo 2"/>
          <p:cNvSpPr>
            <a:spLocks noGrp="1"/>
          </p:cNvSpPr>
          <p:nvPr>
            <p:ph idx="1"/>
          </p:nvPr>
        </p:nvSpPr>
        <p:spPr/>
        <p:txBody>
          <a:bodyPr/>
          <a:lstStyle>
            <a:lvl1pPr>
              <a:defRPr>
                <a:latin typeface="Trebuchet MS" panose="020B0603020202020204" pitchFamily="34" charset="0"/>
              </a:defRPr>
            </a:lvl1pPr>
            <a:lvl2pPr>
              <a:defRPr>
                <a:latin typeface="Trebuchet MS" panose="020B0603020202020204" pitchFamily="34" charset="0"/>
              </a:defRPr>
            </a:lvl2pPr>
            <a:lvl3pPr>
              <a:defRPr>
                <a:latin typeface="Trebuchet MS" panose="020B0603020202020204" pitchFamily="34" charset="0"/>
              </a:defRPr>
            </a:lvl3pPr>
            <a:lvl4pPr>
              <a:defRPr>
                <a:latin typeface="Trebuchet MS" panose="020B0603020202020204" pitchFamily="34" charset="0"/>
              </a:defRPr>
            </a:lvl4pPr>
            <a:lvl5pPr>
              <a:defRPr>
                <a:latin typeface="Trebuchet MS" panose="020B0603020202020204" pitchFamily="34" charset="0"/>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p:cNvSpPr>
            <a:spLocks noGrp="1"/>
          </p:cNvSpPr>
          <p:nvPr>
            <p:ph type="dt" sz="half" idx="10"/>
          </p:nvPr>
        </p:nvSpPr>
        <p:spPr/>
        <p:txBody>
          <a:bodyPr/>
          <a:lstStyle/>
          <a:p>
            <a:fld id="{4147567D-645F-47F3-AACE-4FE6D14F5CEC}" type="datetimeFigureOut">
              <a:rPr lang="pt-BR" smtClean="0"/>
              <a:t>11/05/2026</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787BF145-6CDA-4FDB-A3A7-D31A8AE7EBD0}" type="slidenum">
              <a:rPr lang="pt-BR" smtClean="0"/>
              <a:t>‹nº›</a:t>
            </a:fld>
            <a:endParaRPr lang="pt-BR"/>
          </a:p>
        </p:txBody>
      </p:sp>
    </p:spTree>
    <p:extLst>
      <p:ext uri="{BB962C8B-B14F-4D97-AF65-F5344CB8AC3E}">
        <p14:creationId xmlns:p14="http://schemas.microsoft.com/office/powerpoint/2010/main" val="216674212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p:cNvSpPr>
            <a:spLocks noGrp="1"/>
          </p:cNvSpPr>
          <p:nvPr>
            <p:ph type="title"/>
          </p:nvPr>
        </p:nvSpPr>
        <p:spPr>
          <a:xfrm>
            <a:off x="831851" y="1709739"/>
            <a:ext cx="10515600" cy="2852737"/>
          </a:xfrm>
        </p:spPr>
        <p:txBody>
          <a:bodyPr anchor="b"/>
          <a:lstStyle>
            <a:lvl1pPr>
              <a:defRPr sz="6000"/>
            </a:lvl1pPr>
          </a:lstStyle>
          <a:p>
            <a:r>
              <a:rPr lang="pt-BR"/>
              <a:t>Clique para editar o título mestre</a:t>
            </a:r>
          </a:p>
        </p:txBody>
      </p:sp>
      <p:sp>
        <p:nvSpPr>
          <p:cNvPr id="3" name="Espaço Reservado para Texto 2"/>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pt-BR"/>
              <a:t>Clique para editar o texto mestre</a:t>
            </a:r>
          </a:p>
        </p:txBody>
      </p:sp>
      <p:sp>
        <p:nvSpPr>
          <p:cNvPr id="4" name="Espaço Reservado para Data 3"/>
          <p:cNvSpPr>
            <a:spLocks noGrp="1"/>
          </p:cNvSpPr>
          <p:nvPr>
            <p:ph type="dt" sz="half" idx="10"/>
          </p:nvPr>
        </p:nvSpPr>
        <p:spPr/>
        <p:txBody>
          <a:bodyPr/>
          <a:lstStyle/>
          <a:p>
            <a:fld id="{4147567D-645F-47F3-AACE-4FE6D14F5CEC}" type="datetimeFigureOut">
              <a:rPr lang="pt-BR" smtClean="0"/>
              <a:t>11/05/2026</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787BF145-6CDA-4FDB-A3A7-D31A8AE7EBD0}" type="slidenum">
              <a:rPr lang="pt-BR" smtClean="0"/>
              <a:t>‹nº›</a:t>
            </a:fld>
            <a:endParaRPr lang="pt-BR"/>
          </a:p>
        </p:txBody>
      </p:sp>
    </p:spTree>
    <p:extLst>
      <p:ext uri="{BB962C8B-B14F-4D97-AF65-F5344CB8AC3E}">
        <p14:creationId xmlns:p14="http://schemas.microsoft.com/office/powerpoint/2010/main" val="7114773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o título mestre</a:t>
            </a:r>
          </a:p>
        </p:txBody>
      </p:sp>
      <p:sp>
        <p:nvSpPr>
          <p:cNvPr id="3" name="Espaço Reservado para Conteúdo 2"/>
          <p:cNvSpPr>
            <a:spLocks noGrp="1"/>
          </p:cNvSpPr>
          <p:nvPr>
            <p:ph sz="half" idx="1"/>
          </p:nvPr>
        </p:nvSpPr>
        <p:spPr>
          <a:xfrm>
            <a:off x="838200" y="1825625"/>
            <a:ext cx="5156200" cy="4351338"/>
          </a:xfrm>
        </p:spPr>
        <p:txBody>
          <a:body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p:cNvSpPr>
            <a:spLocks noGrp="1"/>
          </p:cNvSpPr>
          <p:nvPr>
            <p:ph sz="half" idx="2"/>
          </p:nvPr>
        </p:nvSpPr>
        <p:spPr>
          <a:xfrm>
            <a:off x="6197600" y="1825625"/>
            <a:ext cx="5156200" cy="4351338"/>
          </a:xfrm>
        </p:spPr>
        <p:txBody>
          <a:body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Data 4"/>
          <p:cNvSpPr>
            <a:spLocks noGrp="1"/>
          </p:cNvSpPr>
          <p:nvPr>
            <p:ph type="dt" sz="half" idx="10"/>
          </p:nvPr>
        </p:nvSpPr>
        <p:spPr/>
        <p:txBody>
          <a:bodyPr/>
          <a:lstStyle/>
          <a:p>
            <a:fld id="{4147567D-645F-47F3-AACE-4FE6D14F5CEC}" type="datetimeFigureOut">
              <a:rPr lang="pt-BR" smtClean="0"/>
              <a:t>11/05/2026</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787BF145-6CDA-4FDB-A3A7-D31A8AE7EBD0}" type="slidenum">
              <a:rPr lang="pt-BR" smtClean="0"/>
              <a:t>‹nº›</a:t>
            </a:fld>
            <a:endParaRPr lang="pt-BR"/>
          </a:p>
        </p:txBody>
      </p:sp>
    </p:spTree>
    <p:extLst>
      <p:ext uri="{BB962C8B-B14F-4D97-AF65-F5344CB8AC3E}">
        <p14:creationId xmlns:p14="http://schemas.microsoft.com/office/powerpoint/2010/main" val="4197578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a:xfrm>
            <a:off x="840317" y="365126"/>
            <a:ext cx="10515600" cy="1325563"/>
          </a:xfrm>
        </p:spPr>
        <p:txBody>
          <a:bodyPr/>
          <a:lstStyle/>
          <a:p>
            <a:r>
              <a:rPr lang="pt-BR"/>
              <a:t>Clique para editar o título mestre</a:t>
            </a:r>
          </a:p>
        </p:txBody>
      </p:sp>
      <p:sp>
        <p:nvSpPr>
          <p:cNvPr id="3" name="Espaço Reservado para Texto 2"/>
          <p:cNvSpPr>
            <a:spLocks noGrp="1"/>
          </p:cNvSpPr>
          <p:nvPr>
            <p:ph type="body" idx="1"/>
          </p:nvPr>
        </p:nvSpPr>
        <p:spPr>
          <a:xfrm>
            <a:off x="840318" y="1681163"/>
            <a:ext cx="5158316"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 texto mestre</a:t>
            </a:r>
          </a:p>
        </p:txBody>
      </p:sp>
      <p:sp>
        <p:nvSpPr>
          <p:cNvPr id="4" name="Espaço Reservado para Conteúdo 3"/>
          <p:cNvSpPr>
            <a:spLocks noGrp="1"/>
          </p:cNvSpPr>
          <p:nvPr>
            <p:ph sz="half" idx="2"/>
          </p:nvPr>
        </p:nvSpPr>
        <p:spPr>
          <a:xfrm>
            <a:off x="840318" y="2505075"/>
            <a:ext cx="5158316" cy="3684588"/>
          </a:xfrm>
        </p:spPr>
        <p:txBody>
          <a:body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Texto 4"/>
          <p:cNvSpPr>
            <a:spLocks noGrp="1"/>
          </p:cNvSpPr>
          <p:nvPr>
            <p:ph type="body" sz="quarter" idx="3"/>
          </p:nvPr>
        </p:nvSpPr>
        <p:spPr>
          <a:xfrm>
            <a:off x="6172200" y="1681163"/>
            <a:ext cx="518371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 texto mestre</a:t>
            </a:r>
          </a:p>
        </p:txBody>
      </p:sp>
      <p:sp>
        <p:nvSpPr>
          <p:cNvPr id="6" name="Espaço Reservado para Conteúdo 5"/>
          <p:cNvSpPr>
            <a:spLocks noGrp="1"/>
          </p:cNvSpPr>
          <p:nvPr>
            <p:ph sz="quarter" idx="4"/>
          </p:nvPr>
        </p:nvSpPr>
        <p:spPr>
          <a:xfrm>
            <a:off x="6172200" y="2505075"/>
            <a:ext cx="5183717" cy="3684588"/>
          </a:xfrm>
        </p:spPr>
        <p:txBody>
          <a:body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p>
        </p:txBody>
      </p:sp>
      <p:sp>
        <p:nvSpPr>
          <p:cNvPr id="7" name="Espaço Reservado para Data 6"/>
          <p:cNvSpPr>
            <a:spLocks noGrp="1"/>
          </p:cNvSpPr>
          <p:nvPr>
            <p:ph type="dt" sz="half" idx="10"/>
          </p:nvPr>
        </p:nvSpPr>
        <p:spPr/>
        <p:txBody>
          <a:bodyPr/>
          <a:lstStyle/>
          <a:p>
            <a:fld id="{4147567D-645F-47F3-AACE-4FE6D14F5CEC}" type="datetimeFigureOut">
              <a:rPr lang="pt-BR" smtClean="0"/>
              <a:t>11/05/2026</a:t>
            </a:fld>
            <a:endParaRPr lang="pt-BR"/>
          </a:p>
        </p:txBody>
      </p:sp>
      <p:sp>
        <p:nvSpPr>
          <p:cNvPr id="8" name="Espaço Reservado para Rodapé 7"/>
          <p:cNvSpPr>
            <a:spLocks noGrp="1"/>
          </p:cNvSpPr>
          <p:nvPr>
            <p:ph type="ftr" sz="quarter" idx="11"/>
          </p:nvPr>
        </p:nvSpPr>
        <p:spPr/>
        <p:txBody>
          <a:bodyPr/>
          <a:lstStyle/>
          <a:p>
            <a:endParaRPr lang="pt-BR"/>
          </a:p>
        </p:txBody>
      </p:sp>
      <p:sp>
        <p:nvSpPr>
          <p:cNvPr id="9" name="Espaço Reservado para Número de Slide 8"/>
          <p:cNvSpPr>
            <a:spLocks noGrp="1"/>
          </p:cNvSpPr>
          <p:nvPr>
            <p:ph type="sldNum" sz="quarter" idx="12"/>
          </p:nvPr>
        </p:nvSpPr>
        <p:spPr/>
        <p:txBody>
          <a:bodyPr/>
          <a:lstStyle/>
          <a:p>
            <a:fld id="{787BF145-6CDA-4FDB-A3A7-D31A8AE7EBD0}" type="slidenum">
              <a:rPr lang="pt-BR" smtClean="0"/>
              <a:t>‹nº›</a:t>
            </a:fld>
            <a:endParaRPr lang="pt-BR"/>
          </a:p>
        </p:txBody>
      </p:sp>
    </p:spTree>
    <p:extLst>
      <p:ext uri="{BB962C8B-B14F-4D97-AF65-F5344CB8AC3E}">
        <p14:creationId xmlns:p14="http://schemas.microsoft.com/office/powerpoint/2010/main" val="7489926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D2F9012-1B39-757E-15DB-56EA4F792822}"/>
              </a:ext>
            </a:extLst>
          </p:cNvPr>
          <p:cNvSpPr>
            <a:spLocks noGrp="1"/>
          </p:cNvSpPr>
          <p:nvPr>
            <p:ph type="title"/>
          </p:nvPr>
        </p:nvSpPr>
        <p:spPr>
          <a:xfrm>
            <a:off x="831850" y="1709738"/>
            <a:ext cx="10515600" cy="2852737"/>
          </a:xfrm>
        </p:spPr>
        <p:txBody>
          <a:bodyPr anchor="b"/>
          <a:lstStyle>
            <a:lvl1pPr>
              <a:defRPr sz="6000"/>
            </a:lvl1pPr>
          </a:lstStyle>
          <a:p>
            <a:r>
              <a:rPr lang="pt-BR"/>
              <a:t>Clique para editar o título Mestre</a:t>
            </a:r>
          </a:p>
        </p:txBody>
      </p:sp>
      <p:sp>
        <p:nvSpPr>
          <p:cNvPr id="3" name="Espaço Reservado para Texto 2">
            <a:extLst>
              <a:ext uri="{FF2B5EF4-FFF2-40B4-BE49-F238E27FC236}">
                <a16:creationId xmlns:a16="http://schemas.microsoft.com/office/drawing/2014/main" id="{2A67C6F8-4D30-1585-4B8E-C31712FCEDD4}"/>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pt-BR"/>
              <a:t>Clique para editar os estilos de texto Mestres</a:t>
            </a:r>
          </a:p>
        </p:txBody>
      </p:sp>
      <p:sp>
        <p:nvSpPr>
          <p:cNvPr id="4" name="Espaço Reservado para Data 3">
            <a:extLst>
              <a:ext uri="{FF2B5EF4-FFF2-40B4-BE49-F238E27FC236}">
                <a16:creationId xmlns:a16="http://schemas.microsoft.com/office/drawing/2014/main" id="{0DDC47DF-543C-B6D4-A184-E54364BA1A96}"/>
              </a:ext>
            </a:extLst>
          </p:cNvPr>
          <p:cNvSpPr>
            <a:spLocks noGrp="1"/>
          </p:cNvSpPr>
          <p:nvPr>
            <p:ph type="dt" sz="half" idx="10"/>
          </p:nvPr>
        </p:nvSpPr>
        <p:spPr/>
        <p:txBody>
          <a:bodyPr/>
          <a:lstStyle/>
          <a:p>
            <a:fld id="{469AC970-D5BA-4C8F-B1E1-CD031371C8D9}" type="datetimeFigureOut">
              <a:rPr lang="pt-BR" smtClean="0"/>
              <a:t>11/05/2026</a:t>
            </a:fld>
            <a:endParaRPr lang="pt-BR"/>
          </a:p>
        </p:txBody>
      </p:sp>
      <p:sp>
        <p:nvSpPr>
          <p:cNvPr id="5" name="Espaço Reservado para Rodapé 4">
            <a:extLst>
              <a:ext uri="{FF2B5EF4-FFF2-40B4-BE49-F238E27FC236}">
                <a16:creationId xmlns:a16="http://schemas.microsoft.com/office/drawing/2014/main" id="{A20B7CAC-73A5-DECE-770A-C0D81BD48964}"/>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07D74FCD-8FAB-0896-FBA6-7EEA61422CCB}"/>
              </a:ext>
            </a:extLst>
          </p:cNvPr>
          <p:cNvSpPr>
            <a:spLocks noGrp="1"/>
          </p:cNvSpPr>
          <p:nvPr>
            <p:ph type="sldNum" sz="quarter" idx="12"/>
          </p:nvPr>
        </p:nvSpPr>
        <p:spPr/>
        <p:txBody>
          <a:bodyPr/>
          <a:lstStyle/>
          <a:p>
            <a:fld id="{C2DC0A5C-548C-4DDD-B0B9-C90FCFE2B2B1}" type="slidenum">
              <a:rPr lang="pt-BR" smtClean="0"/>
              <a:t>‹nº›</a:t>
            </a:fld>
            <a:endParaRPr lang="pt-BR"/>
          </a:p>
        </p:txBody>
      </p:sp>
    </p:spTree>
    <p:extLst>
      <p:ext uri="{BB962C8B-B14F-4D97-AF65-F5344CB8AC3E}">
        <p14:creationId xmlns:p14="http://schemas.microsoft.com/office/powerpoint/2010/main" val="251459611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o título mestre</a:t>
            </a:r>
          </a:p>
        </p:txBody>
      </p:sp>
      <p:sp>
        <p:nvSpPr>
          <p:cNvPr id="3" name="Espaço Reservado para Data 2"/>
          <p:cNvSpPr>
            <a:spLocks noGrp="1"/>
          </p:cNvSpPr>
          <p:nvPr>
            <p:ph type="dt" sz="half" idx="10"/>
          </p:nvPr>
        </p:nvSpPr>
        <p:spPr/>
        <p:txBody>
          <a:bodyPr/>
          <a:lstStyle/>
          <a:p>
            <a:fld id="{4147567D-645F-47F3-AACE-4FE6D14F5CEC}" type="datetimeFigureOut">
              <a:rPr lang="pt-BR" smtClean="0"/>
              <a:t>11/05/2026</a:t>
            </a:fld>
            <a:endParaRPr lang="pt-BR"/>
          </a:p>
        </p:txBody>
      </p:sp>
      <p:sp>
        <p:nvSpPr>
          <p:cNvPr id="4" name="Espaço Reservado para Rodapé 3"/>
          <p:cNvSpPr>
            <a:spLocks noGrp="1"/>
          </p:cNvSpPr>
          <p:nvPr>
            <p:ph type="ftr" sz="quarter" idx="11"/>
          </p:nvPr>
        </p:nvSpPr>
        <p:spPr/>
        <p:txBody>
          <a:bodyPr/>
          <a:lstStyle/>
          <a:p>
            <a:endParaRPr lang="pt-BR"/>
          </a:p>
        </p:txBody>
      </p:sp>
      <p:sp>
        <p:nvSpPr>
          <p:cNvPr id="5" name="Espaço Reservado para Número de Slide 4"/>
          <p:cNvSpPr>
            <a:spLocks noGrp="1"/>
          </p:cNvSpPr>
          <p:nvPr>
            <p:ph type="sldNum" sz="quarter" idx="12"/>
          </p:nvPr>
        </p:nvSpPr>
        <p:spPr/>
        <p:txBody>
          <a:bodyPr/>
          <a:lstStyle/>
          <a:p>
            <a:fld id="{787BF145-6CDA-4FDB-A3A7-D31A8AE7EBD0}" type="slidenum">
              <a:rPr lang="pt-BR" smtClean="0"/>
              <a:t>‹nº›</a:t>
            </a:fld>
            <a:endParaRPr lang="pt-BR"/>
          </a:p>
        </p:txBody>
      </p:sp>
    </p:spTree>
    <p:extLst>
      <p:ext uri="{BB962C8B-B14F-4D97-AF65-F5344CB8AC3E}">
        <p14:creationId xmlns:p14="http://schemas.microsoft.com/office/powerpoint/2010/main" val="203464824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p:cNvSpPr>
            <a:spLocks noGrp="1"/>
          </p:cNvSpPr>
          <p:nvPr>
            <p:ph type="dt" sz="half" idx="10"/>
          </p:nvPr>
        </p:nvSpPr>
        <p:spPr/>
        <p:txBody>
          <a:bodyPr/>
          <a:lstStyle/>
          <a:p>
            <a:fld id="{4147567D-645F-47F3-AACE-4FE6D14F5CEC}" type="datetimeFigureOut">
              <a:rPr lang="pt-BR" smtClean="0"/>
              <a:t>11/05/2026</a:t>
            </a:fld>
            <a:endParaRPr lang="pt-BR"/>
          </a:p>
        </p:txBody>
      </p:sp>
      <p:sp>
        <p:nvSpPr>
          <p:cNvPr id="3" name="Espaço Reservado para Rodapé 2"/>
          <p:cNvSpPr>
            <a:spLocks noGrp="1"/>
          </p:cNvSpPr>
          <p:nvPr>
            <p:ph type="ftr" sz="quarter" idx="11"/>
          </p:nvPr>
        </p:nvSpPr>
        <p:spPr/>
        <p:txBody>
          <a:bodyPr/>
          <a:lstStyle/>
          <a:p>
            <a:endParaRPr lang="pt-BR"/>
          </a:p>
        </p:txBody>
      </p:sp>
      <p:sp>
        <p:nvSpPr>
          <p:cNvPr id="4" name="Espaço Reservado para Número de Slide 3"/>
          <p:cNvSpPr>
            <a:spLocks noGrp="1"/>
          </p:cNvSpPr>
          <p:nvPr>
            <p:ph type="sldNum" sz="quarter" idx="12"/>
          </p:nvPr>
        </p:nvSpPr>
        <p:spPr/>
        <p:txBody>
          <a:bodyPr/>
          <a:lstStyle/>
          <a:p>
            <a:fld id="{787BF145-6CDA-4FDB-A3A7-D31A8AE7EBD0}" type="slidenum">
              <a:rPr lang="pt-BR" smtClean="0"/>
              <a:t>‹nº›</a:t>
            </a:fld>
            <a:endParaRPr lang="pt-BR"/>
          </a:p>
        </p:txBody>
      </p:sp>
    </p:spTree>
    <p:extLst>
      <p:ext uri="{BB962C8B-B14F-4D97-AF65-F5344CB8AC3E}">
        <p14:creationId xmlns:p14="http://schemas.microsoft.com/office/powerpoint/2010/main" val="309572827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840318" y="457200"/>
            <a:ext cx="3932767" cy="1600200"/>
          </a:xfrm>
        </p:spPr>
        <p:txBody>
          <a:bodyPr anchor="b"/>
          <a:lstStyle>
            <a:lvl1pPr>
              <a:defRPr sz="3200"/>
            </a:lvl1pPr>
          </a:lstStyle>
          <a:p>
            <a:r>
              <a:rPr lang="pt-BR"/>
              <a:t>Clique para editar o título mestre</a:t>
            </a:r>
          </a:p>
        </p:txBody>
      </p:sp>
      <p:sp>
        <p:nvSpPr>
          <p:cNvPr id="3" name="Espaço Reservado para Conteúdo 2"/>
          <p:cNvSpPr>
            <a:spLocks noGrp="1"/>
          </p:cNvSpPr>
          <p:nvPr>
            <p:ph idx="1"/>
          </p:nvPr>
        </p:nvSpPr>
        <p:spPr>
          <a:xfrm>
            <a:off x="5183717"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Texto 3"/>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Clique para editar o texto mestre</a:t>
            </a:r>
          </a:p>
        </p:txBody>
      </p:sp>
      <p:sp>
        <p:nvSpPr>
          <p:cNvPr id="5" name="Espaço Reservado para Data 4"/>
          <p:cNvSpPr>
            <a:spLocks noGrp="1"/>
          </p:cNvSpPr>
          <p:nvPr>
            <p:ph type="dt" sz="half" idx="10"/>
          </p:nvPr>
        </p:nvSpPr>
        <p:spPr/>
        <p:txBody>
          <a:bodyPr/>
          <a:lstStyle/>
          <a:p>
            <a:fld id="{4147567D-645F-47F3-AACE-4FE6D14F5CEC}" type="datetimeFigureOut">
              <a:rPr lang="pt-BR" smtClean="0"/>
              <a:t>11/05/2026</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787BF145-6CDA-4FDB-A3A7-D31A8AE7EBD0}" type="slidenum">
              <a:rPr lang="pt-BR" smtClean="0"/>
              <a:t>‹nº›</a:t>
            </a:fld>
            <a:endParaRPr lang="pt-BR"/>
          </a:p>
        </p:txBody>
      </p:sp>
    </p:spTree>
    <p:extLst>
      <p:ext uri="{BB962C8B-B14F-4D97-AF65-F5344CB8AC3E}">
        <p14:creationId xmlns:p14="http://schemas.microsoft.com/office/powerpoint/2010/main" val="136796871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840318" y="457200"/>
            <a:ext cx="3932767" cy="1600200"/>
          </a:xfrm>
        </p:spPr>
        <p:txBody>
          <a:bodyPr anchor="b"/>
          <a:lstStyle>
            <a:lvl1pPr>
              <a:defRPr sz="3200"/>
            </a:lvl1pPr>
          </a:lstStyle>
          <a:p>
            <a:r>
              <a:rPr lang="pt-BR"/>
              <a:t>Clique para editar o título mestre</a:t>
            </a:r>
          </a:p>
        </p:txBody>
      </p:sp>
      <p:sp>
        <p:nvSpPr>
          <p:cNvPr id="3" name="Espaço Reservado para Imagem 2"/>
          <p:cNvSpPr>
            <a:spLocks noGrp="1"/>
          </p:cNvSpPr>
          <p:nvPr>
            <p:ph type="pic" idx="1"/>
          </p:nvPr>
        </p:nvSpPr>
        <p:spPr>
          <a:xfrm>
            <a:off x="5183717" y="987426"/>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t-BR"/>
          </a:p>
        </p:txBody>
      </p:sp>
      <p:sp>
        <p:nvSpPr>
          <p:cNvPr id="4" name="Espaço Reservado para Texto 3"/>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Clique para editar o texto mestre</a:t>
            </a:r>
          </a:p>
        </p:txBody>
      </p:sp>
      <p:sp>
        <p:nvSpPr>
          <p:cNvPr id="5" name="Espaço Reservado para Data 4"/>
          <p:cNvSpPr>
            <a:spLocks noGrp="1"/>
          </p:cNvSpPr>
          <p:nvPr>
            <p:ph type="dt" sz="half" idx="10"/>
          </p:nvPr>
        </p:nvSpPr>
        <p:spPr/>
        <p:txBody>
          <a:bodyPr/>
          <a:lstStyle/>
          <a:p>
            <a:fld id="{4147567D-645F-47F3-AACE-4FE6D14F5CEC}" type="datetimeFigureOut">
              <a:rPr lang="pt-BR" smtClean="0"/>
              <a:t>11/05/2026</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787BF145-6CDA-4FDB-A3A7-D31A8AE7EBD0}" type="slidenum">
              <a:rPr lang="pt-BR" smtClean="0"/>
              <a:t>‹nº›</a:t>
            </a:fld>
            <a:endParaRPr lang="pt-BR"/>
          </a:p>
        </p:txBody>
      </p:sp>
    </p:spTree>
    <p:extLst>
      <p:ext uri="{BB962C8B-B14F-4D97-AF65-F5344CB8AC3E}">
        <p14:creationId xmlns:p14="http://schemas.microsoft.com/office/powerpoint/2010/main" val="82831835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o título mestre</a:t>
            </a:r>
          </a:p>
        </p:txBody>
      </p:sp>
      <p:sp>
        <p:nvSpPr>
          <p:cNvPr id="3" name="Espaço Reservado para Texto Vertical 2"/>
          <p:cNvSpPr>
            <a:spLocks noGrp="1"/>
          </p:cNvSpPr>
          <p:nvPr>
            <p:ph type="body" orient="vert" idx="1"/>
          </p:nvPr>
        </p:nvSpPr>
        <p:spPr/>
        <p:txBody>
          <a:bodyPr vert="eaVert"/>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p:cNvSpPr>
            <a:spLocks noGrp="1"/>
          </p:cNvSpPr>
          <p:nvPr>
            <p:ph type="dt" sz="half" idx="10"/>
          </p:nvPr>
        </p:nvSpPr>
        <p:spPr/>
        <p:txBody>
          <a:bodyPr/>
          <a:lstStyle/>
          <a:p>
            <a:fld id="{4147567D-645F-47F3-AACE-4FE6D14F5CEC}" type="datetimeFigureOut">
              <a:rPr lang="pt-BR" smtClean="0"/>
              <a:t>11/05/2026</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787BF145-6CDA-4FDB-A3A7-D31A8AE7EBD0}" type="slidenum">
              <a:rPr lang="pt-BR" smtClean="0"/>
              <a:t>‹nº›</a:t>
            </a:fld>
            <a:endParaRPr lang="pt-BR"/>
          </a:p>
        </p:txBody>
      </p:sp>
    </p:spTree>
    <p:extLst>
      <p:ext uri="{BB962C8B-B14F-4D97-AF65-F5344CB8AC3E}">
        <p14:creationId xmlns:p14="http://schemas.microsoft.com/office/powerpoint/2010/main" val="360311569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8724901" y="365125"/>
            <a:ext cx="2628900" cy="5811838"/>
          </a:xfrm>
        </p:spPr>
        <p:txBody>
          <a:bodyPr vert="eaVert"/>
          <a:lstStyle/>
          <a:p>
            <a:r>
              <a:rPr lang="pt-BR"/>
              <a:t>Clique para editar o título mestre</a:t>
            </a:r>
          </a:p>
        </p:txBody>
      </p:sp>
      <p:sp>
        <p:nvSpPr>
          <p:cNvPr id="3" name="Espaço Reservado para Texto Vertical 2"/>
          <p:cNvSpPr>
            <a:spLocks noGrp="1"/>
          </p:cNvSpPr>
          <p:nvPr>
            <p:ph type="body" orient="vert" idx="1"/>
          </p:nvPr>
        </p:nvSpPr>
        <p:spPr>
          <a:xfrm>
            <a:off x="838201" y="365125"/>
            <a:ext cx="7683500" cy="5811838"/>
          </a:xfrm>
        </p:spPr>
        <p:txBody>
          <a:bodyPr vert="eaVert"/>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p:cNvSpPr>
            <a:spLocks noGrp="1"/>
          </p:cNvSpPr>
          <p:nvPr>
            <p:ph type="dt" sz="half" idx="10"/>
          </p:nvPr>
        </p:nvSpPr>
        <p:spPr/>
        <p:txBody>
          <a:bodyPr/>
          <a:lstStyle/>
          <a:p>
            <a:fld id="{4147567D-645F-47F3-AACE-4FE6D14F5CEC}" type="datetimeFigureOut">
              <a:rPr lang="pt-BR" smtClean="0"/>
              <a:t>11/05/2026</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787BF145-6CDA-4FDB-A3A7-D31A8AE7EBD0}" type="slidenum">
              <a:rPr lang="pt-BR" smtClean="0"/>
              <a:t>‹nº›</a:t>
            </a:fld>
            <a:endParaRPr lang="pt-BR"/>
          </a:p>
        </p:txBody>
      </p:sp>
    </p:spTree>
    <p:extLst>
      <p:ext uri="{BB962C8B-B14F-4D97-AF65-F5344CB8AC3E}">
        <p14:creationId xmlns:p14="http://schemas.microsoft.com/office/powerpoint/2010/main" val="100159232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p:spPr>
        <p:txBody>
          <a:bodyPr anchor="b"/>
          <a:lstStyle>
            <a:lvl1pPr algn="ctr">
              <a:defRPr sz="6000">
                <a:latin typeface="Trebuchet MS" panose="020B0603020202020204" pitchFamily="34" charset="0"/>
              </a:defRPr>
            </a:lvl1pPr>
          </a:lstStyle>
          <a:p>
            <a:r>
              <a:rPr lang="pt-BR"/>
              <a:t>Clique para editar o título mestre</a:t>
            </a:r>
          </a:p>
        </p:txBody>
      </p:sp>
      <p:sp>
        <p:nvSpPr>
          <p:cNvPr id="3" name="Subtítulo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a:t>Clique para editar o estilo do subtítulo mestre</a:t>
            </a:r>
          </a:p>
        </p:txBody>
      </p:sp>
      <p:sp>
        <p:nvSpPr>
          <p:cNvPr id="4" name="Espaço Reservado para Data 3"/>
          <p:cNvSpPr>
            <a:spLocks noGrp="1"/>
          </p:cNvSpPr>
          <p:nvPr>
            <p:ph type="dt" sz="half" idx="10"/>
          </p:nvPr>
        </p:nvSpPr>
        <p:spPr/>
        <p:txBody>
          <a:bodyPr/>
          <a:lstStyle/>
          <a:p>
            <a:fld id="{4147567D-645F-47F3-AACE-4FE6D14F5CEC}" type="datetimeFigureOut">
              <a:rPr lang="pt-BR" smtClean="0"/>
              <a:t>11/05/2026</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787BF145-6CDA-4FDB-A3A7-D31A8AE7EBD0}" type="slidenum">
              <a:rPr lang="pt-BR" smtClean="0"/>
              <a:t>‹nº›</a:t>
            </a:fld>
            <a:endParaRPr lang="pt-BR"/>
          </a:p>
        </p:txBody>
      </p:sp>
    </p:spTree>
    <p:extLst>
      <p:ext uri="{BB962C8B-B14F-4D97-AF65-F5344CB8AC3E}">
        <p14:creationId xmlns:p14="http://schemas.microsoft.com/office/powerpoint/2010/main" val="4331402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lvl1pPr>
              <a:defRPr>
                <a:latin typeface="Trebuchet MS" panose="020B0603020202020204" pitchFamily="34" charset="0"/>
              </a:defRPr>
            </a:lvl1pPr>
          </a:lstStyle>
          <a:p>
            <a:r>
              <a:rPr lang="pt-BR"/>
              <a:t>Clique para editar o título mestre</a:t>
            </a:r>
          </a:p>
        </p:txBody>
      </p:sp>
      <p:sp>
        <p:nvSpPr>
          <p:cNvPr id="3" name="Espaço Reservado para Conteúdo 2"/>
          <p:cNvSpPr>
            <a:spLocks noGrp="1"/>
          </p:cNvSpPr>
          <p:nvPr>
            <p:ph idx="1"/>
          </p:nvPr>
        </p:nvSpPr>
        <p:spPr/>
        <p:txBody>
          <a:bodyPr/>
          <a:lstStyle>
            <a:lvl1pPr>
              <a:defRPr>
                <a:latin typeface="Trebuchet MS" panose="020B0603020202020204" pitchFamily="34" charset="0"/>
              </a:defRPr>
            </a:lvl1pPr>
            <a:lvl2pPr>
              <a:defRPr>
                <a:latin typeface="Trebuchet MS" panose="020B0603020202020204" pitchFamily="34" charset="0"/>
              </a:defRPr>
            </a:lvl2pPr>
            <a:lvl3pPr>
              <a:defRPr>
                <a:latin typeface="Trebuchet MS" panose="020B0603020202020204" pitchFamily="34" charset="0"/>
              </a:defRPr>
            </a:lvl3pPr>
            <a:lvl4pPr>
              <a:defRPr>
                <a:latin typeface="Trebuchet MS" panose="020B0603020202020204" pitchFamily="34" charset="0"/>
              </a:defRPr>
            </a:lvl4pPr>
            <a:lvl5pPr>
              <a:defRPr>
                <a:latin typeface="Trebuchet MS" panose="020B0603020202020204" pitchFamily="34" charset="0"/>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p:cNvSpPr>
            <a:spLocks noGrp="1"/>
          </p:cNvSpPr>
          <p:nvPr>
            <p:ph type="dt" sz="half" idx="10"/>
          </p:nvPr>
        </p:nvSpPr>
        <p:spPr/>
        <p:txBody>
          <a:bodyPr/>
          <a:lstStyle/>
          <a:p>
            <a:fld id="{4147567D-645F-47F3-AACE-4FE6D14F5CEC}" type="datetimeFigureOut">
              <a:rPr lang="pt-BR" smtClean="0"/>
              <a:t>11/05/2026</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787BF145-6CDA-4FDB-A3A7-D31A8AE7EBD0}" type="slidenum">
              <a:rPr lang="pt-BR" smtClean="0"/>
              <a:t>‹nº›</a:t>
            </a:fld>
            <a:endParaRPr lang="pt-BR"/>
          </a:p>
        </p:txBody>
      </p:sp>
    </p:spTree>
    <p:extLst>
      <p:ext uri="{BB962C8B-B14F-4D97-AF65-F5344CB8AC3E}">
        <p14:creationId xmlns:p14="http://schemas.microsoft.com/office/powerpoint/2010/main" val="303482487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p:cNvSpPr>
            <a:spLocks noGrp="1"/>
          </p:cNvSpPr>
          <p:nvPr>
            <p:ph type="title"/>
          </p:nvPr>
        </p:nvSpPr>
        <p:spPr>
          <a:xfrm>
            <a:off x="831851" y="1709739"/>
            <a:ext cx="10515600" cy="2852737"/>
          </a:xfrm>
        </p:spPr>
        <p:txBody>
          <a:bodyPr anchor="b"/>
          <a:lstStyle>
            <a:lvl1pPr>
              <a:defRPr sz="6000"/>
            </a:lvl1pPr>
          </a:lstStyle>
          <a:p>
            <a:r>
              <a:rPr lang="pt-BR"/>
              <a:t>Clique para editar o título mestre</a:t>
            </a:r>
          </a:p>
        </p:txBody>
      </p:sp>
      <p:sp>
        <p:nvSpPr>
          <p:cNvPr id="3" name="Espaço Reservado para Texto 2"/>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pt-BR"/>
              <a:t>Clique para editar o texto mestre</a:t>
            </a:r>
          </a:p>
        </p:txBody>
      </p:sp>
      <p:sp>
        <p:nvSpPr>
          <p:cNvPr id="4" name="Espaço Reservado para Data 3"/>
          <p:cNvSpPr>
            <a:spLocks noGrp="1"/>
          </p:cNvSpPr>
          <p:nvPr>
            <p:ph type="dt" sz="half" idx="10"/>
          </p:nvPr>
        </p:nvSpPr>
        <p:spPr/>
        <p:txBody>
          <a:bodyPr/>
          <a:lstStyle/>
          <a:p>
            <a:fld id="{4147567D-645F-47F3-AACE-4FE6D14F5CEC}" type="datetimeFigureOut">
              <a:rPr lang="pt-BR" smtClean="0"/>
              <a:t>11/05/2026</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787BF145-6CDA-4FDB-A3A7-D31A8AE7EBD0}" type="slidenum">
              <a:rPr lang="pt-BR" smtClean="0"/>
              <a:t>‹nº›</a:t>
            </a:fld>
            <a:endParaRPr lang="pt-BR"/>
          </a:p>
        </p:txBody>
      </p:sp>
    </p:spTree>
    <p:extLst>
      <p:ext uri="{BB962C8B-B14F-4D97-AF65-F5344CB8AC3E}">
        <p14:creationId xmlns:p14="http://schemas.microsoft.com/office/powerpoint/2010/main" val="353793855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o título mestre</a:t>
            </a:r>
          </a:p>
        </p:txBody>
      </p:sp>
      <p:sp>
        <p:nvSpPr>
          <p:cNvPr id="3" name="Espaço Reservado para Conteúdo 2"/>
          <p:cNvSpPr>
            <a:spLocks noGrp="1"/>
          </p:cNvSpPr>
          <p:nvPr>
            <p:ph sz="half" idx="1"/>
          </p:nvPr>
        </p:nvSpPr>
        <p:spPr>
          <a:xfrm>
            <a:off x="838200" y="1825625"/>
            <a:ext cx="5156200" cy="4351338"/>
          </a:xfrm>
        </p:spPr>
        <p:txBody>
          <a:body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p:cNvSpPr>
            <a:spLocks noGrp="1"/>
          </p:cNvSpPr>
          <p:nvPr>
            <p:ph sz="half" idx="2"/>
          </p:nvPr>
        </p:nvSpPr>
        <p:spPr>
          <a:xfrm>
            <a:off x="6197600" y="1825625"/>
            <a:ext cx="5156200" cy="4351338"/>
          </a:xfrm>
        </p:spPr>
        <p:txBody>
          <a:body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Data 4"/>
          <p:cNvSpPr>
            <a:spLocks noGrp="1"/>
          </p:cNvSpPr>
          <p:nvPr>
            <p:ph type="dt" sz="half" idx="10"/>
          </p:nvPr>
        </p:nvSpPr>
        <p:spPr/>
        <p:txBody>
          <a:bodyPr/>
          <a:lstStyle/>
          <a:p>
            <a:fld id="{4147567D-645F-47F3-AACE-4FE6D14F5CEC}" type="datetimeFigureOut">
              <a:rPr lang="pt-BR" smtClean="0"/>
              <a:t>11/05/2026</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787BF145-6CDA-4FDB-A3A7-D31A8AE7EBD0}" type="slidenum">
              <a:rPr lang="pt-BR" smtClean="0"/>
              <a:t>‹nº›</a:t>
            </a:fld>
            <a:endParaRPr lang="pt-BR"/>
          </a:p>
        </p:txBody>
      </p:sp>
    </p:spTree>
    <p:extLst>
      <p:ext uri="{BB962C8B-B14F-4D97-AF65-F5344CB8AC3E}">
        <p14:creationId xmlns:p14="http://schemas.microsoft.com/office/powerpoint/2010/main" val="9103611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23B1C51-A2E3-DA5A-FB4D-9D536C0085C7}"/>
              </a:ext>
            </a:extLst>
          </p:cNvPr>
          <p:cNvSpPr>
            <a:spLocks noGrp="1"/>
          </p:cNvSpPr>
          <p:nvPr>
            <p:ph type="title"/>
          </p:nvPr>
        </p:nvSpPr>
        <p:spPr/>
        <p:txBody>
          <a:bodyPr/>
          <a:lstStyle/>
          <a:p>
            <a:r>
              <a:rPr lang="pt-BR"/>
              <a:t>Clique para editar o título Mestre</a:t>
            </a:r>
          </a:p>
        </p:txBody>
      </p:sp>
      <p:sp>
        <p:nvSpPr>
          <p:cNvPr id="3" name="Espaço Reservado para Conteúdo 2">
            <a:extLst>
              <a:ext uri="{FF2B5EF4-FFF2-40B4-BE49-F238E27FC236}">
                <a16:creationId xmlns:a16="http://schemas.microsoft.com/office/drawing/2014/main" id="{CD2C52A7-C966-5321-2805-B604577855CD}"/>
              </a:ext>
            </a:extLst>
          </p:cNvPr>
          <p:cNvSpPr>
            <a:spLocks noGrp="1"/>
          </p:cNvSpPr>
          <p:nvPr>
            <p:ph sz="half" idx="1"/>
          </p:nvPr>
        </p:nvSpPr>
        <p:spPr>
          <a:xfrm>
            <a:off x="838200" y="1825625"/>
            <a:ext cx="5181600" cy="435133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a:extLst>
              <a:ext uri="{FF2B5EF4-FFF2-40B4-BE49-F238E27FC236}">
                <a16:creationId xmlns:a16="http://schemas.microsoft.com/office/drawing/2014/main" id="{04A4E70B-93E6-82BF-CB4E-548DDFD71036}"/>
              </a:ext>
            </a:extLst>
          </p:cNvPr>
          <p:cNvSpPr>
            <a:spLocks noGrp="1"/>
          </p:cNvSpPr>
          <p:nvPr>
            <p:ph sz="half" idx="2"/>
          </p:nvPr>
        </p:nvSpPr>
        <p:spPr>
          <a:xfrm>
            <a:off x="6172200" y="1825625"/>
            <a:ext cx="5181600" cy="435133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Data 4">
            <a:extLst>
              <a:ext uri="{FF2B5EF4-FFF2-40B4-BE49-F238E27FC236}">
                <a16:creationId xmlns:a16="http://schemas.microsoft.com/office/drawing/2014/main" id="{7E8C8A3C-DC7F-4CBF-D2E1-E9CCE37AED2E}"/>
              </a:ext>
            </a:extLst>
          </p:cNvPr>
          <p:cNvSpPr>
            <a:spLocks noGrp="1"/>
          </p:cNvSpPr>
          <p:nvPr>
            <p:ph type="dt" sz="half" idx="10"/>
          </p:nvPr>
        </p:nvSpPr>
        <p:spPr/>
        <p:txBody>
          <a:bodyPr/>
          <a:lstStyle/>
          <a:p>
            <a:fld id="{469AC970-D5BA-4C8F-B1E1-CD031371C8D9}" type="datetimeFigureOut">
              <a:rPr lang="pt-BR" smtClean="0"/>
              <a:t>11/05/2026</a:t>
            </a:fld>
            <a:endParaRPr lang="pt-BR"/>
          </a:p>
        </p:txBody>
      </p:sp>
      <p:sp>
        <p:nvSpPr>
          <p:cNvPr id="6" name="Espaço Reservado para Rodapé 5">
            <a:extLst>
              <a:ext uri="{FF2B5EF4-FFF2-40B4-BE49-F238E27FC236}">
                <a16:creationId xmlns:a16="http://schemas.microsoft.com/office/drawing/2014/main" id="{27794E9D-0D67-7993-380E-959BC1EFA259}"/>
              </a:ext>
            </a:extLst>
          </p:cNvPr>
          <p:cNvSpPr>
            <a:spLocks noGrp="1"/>
          </p:cNvSpPr>
          <p:nvPr>
            <p:ph type="ftr" sz="quarter" idx="11"/>
          </p:nvPr>
        </p:nvSpPr>
        <p:spPr/>
        <p:txBody>
          <a:bodyPr/>
          <a:lstStyle/>
          <a:p>
            <a:endParaRPr lang="pt-BR"/>
          </a:p>
        </p:txBody>
      </p:sp>
      <p:sp>
        <p:nvSpPr>
          <p:cNvPr id="7" name="Espaço Reservado para Número de Slide 6">
            <a:extLst>
              <a:ext uri="{FF2B5EF4-FFF2-40B4-BE49-F238E27FC236}">
                <a16:creationId xmlns:a16="http://schemas.microsoft.com/office/drawing/2014/main" id="{748AAA75-40CB-2A82-5A61-DD72E14467F0}"/>
              </a:ext>
            </a:extLst>
          </p:cNvPr>
          <p:cNvSpPr>
            <a:spLocks noGrp="1"/>
          </p:cNvSpPr>
          <p:nvPr>
            <p:ph type="sldNum" sz="quarter" idx="12"/>
          </p:nvPr>
        </p:nvSpPr>
        <p:spPr/>
        <p:txBody>
          <a:bodyPr/>
          <a:lstStyle/>
          <a:p>
            <a:fld id="{C2DC0A5C-548C-4DDD-B0B9-C90FCFE2B2B1}" type="slidenum">
              <a:rPr lang="pt-BR" smtClean="0"/>
              <a:t>‹nº›</a:t>
            </a:fld>
            <a:endParaRPr lang="pt-BR"/>
          </a:p>
        </p:txBody>
      </p:sp>
    </p:spTree>
    <p:extLst>
      <p:ext uri="{BB962C8B-B14F-4D97-AF65-F5344CB8AC3E}">
        <p14:creationId xmlns:p14="http://schemas.microsoft.com/office/powerpoint/2010/main" val="36885080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a:xfrm>
            <a:off x="840317" y="365126"/>
            <a:ext cx="10515600" cy="1325563"/>
          </a:xfrm>
        </p:spPr>
        <p:txBody>
          <a:bodyPr/>
          <a:lstStyle/>
          <a:p>
            <a:r>
              <a:rPr lang="pt-BR"/>
              <a:t>Clique para editar o título mestre</a:t>
            </a:r>
          </a:p>
        </p:txBody>
      </p:sp>
      <p:sp>
        <p:nvSpPr>
          <p:cNvPr id="3" name="Espaço Reservado para Texto 2"/>
          <p:cNvSpPr>
            <a:spLocks noGrp="1"/>
          </p:cNvSpPr>
          <p:nvPr>
            <p:ph type="body" idx="1"/>
          </p:nvPr>
        </p:nvSpPr>
        <p:spPr>
          <a:xfrm>
            <a:off x="840318" y="1681163"/>
            <a:ext cx="5158316"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 texto mestre</a:t>
            </a:r>
          </a:p>
        </p:txBody>
      </p:sp>
      <p:sp>
        <p:nvSpPr>
          <p:cNvPr id="4" name="Espaço Reservado para Conteúdo 3"/>
          <p:cNvSpPr>
            <a:spLocks noGrp="1"/>
          </p:cNvSpPr>
          <p:nvPr>
            <p:ph sz="half" idx="2"/>
          </p:nvPr>
        </p:nvSpPr>
        <p:spPr>
          <a:xfrm>
            <a:off x="840318" y="2505075"/>
            <a:ext cx="5158316" cy="3684588"/>
          </a:xfrm>
        </p:spPr>
        <p:txBody>
          <a:body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Texto 4"/>
          <p:cNvSpPr>
            <a:spLocks noGrp="1"/>
          </p:cNvSpPr>
          <p:nvPr>
            <p:ph type="body" sz="quarter" idx="3"/>
          </p:nvPr>
        </p:nvSpPr>
        <p:spPr>
          <a:xfrm>
            <a:off x="6172200" y="1681163"/>
            <a:ext cx="518371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 texto mestre</a:t>
            </a:r>
          </a:p>
        </p:txBody>
      </p:sp>
      <p:sp>
        <p:nvSpPr>
          <p:cNvPr id="6" name="Espaço Reservado para Conteúdo 5"/>
          <p:cNvSpPr>
            <a:spLocks noGrp="1"/>
          </p:cNvSpPr>
          <p:nvPr>
            <p:ph sz="quarter" idx="4"/>
          </p:nvPr>
        </p:nvSpPr>
        <p:spPr>
          <a:xfrm>
            <a:off x="6172200" y="2505075"/>
            <a:ext cx="5183717" cy="3684588"/>
          </a:xfrm>
        </p:spPr>
        <p:txBody>
          <a:body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p>
        </p:txBody>
      </p:sp>
      <p:sp>
        <p:nvSpPr>
          <p:cNvPr id="7" name="Espaço Reservado para Data 6"/>
          <p:cNvSpPr>
            <a:spLocks noGrp="1"/>
          </p:cNvSpPr>
          <p:nvPr>
            <p:ph type="dt" sz="half" idx="10"/>
          </p:nvPr>
        </p:nvSpPr>
        <p:spPr/>
        <p:txBody>
          <a:bodyPr/>
          <a:lstStyle/>
          <a:p>
            <a:fld id="{4147567D-645F-47F3-AACE-4FE6D14F5CEC}" type="datetimeFigureOut">
              <a:rPr lang="pt-BR" smtClean="0"/>
              <a:t>11/05/2026</a:t>
            </a:fld>
            <a:endParaRPr lang="pt-BR"/>
          </a:p>
        </p:txBody>
      </p:sp>
      <p:sp>
        <p:nvSpPr>
          <p:cNvPr id="8" name="Espaço Reservado para Rodapé 7"/>
          <p:cNvSpPr>
            <a:spLocks noGrp="1"/>
          </p:cNvSpPr>
          <p:nvPr>
            <p:ph type="ftr" sz="quarter" idx="11"/>
          </p:nvPr>
        </p:nvSpPr>
        <p:spPr/>
        <p:txBody>
          <a:bodyPr/>
          <a:lstStyle/>
          <a:p>
            <a:endParaRPr lang="pt-BR"/>
          </a:p>
        </p:txBody>
      </p:sp>
      <p:sp>
        <p:nvSpPr>
          <p:cNvPr id="9" name="Espaço Reservado para Número de Slide 8"/>
          <p:cNvSpPr>
            <a:spLocks noGrp="1"/>
          </p:cNvSpPr>
          <p:nvPr>
            <p:ph type="sldNum" sz="quarter" idx="12"/>
          </p:nvPr>
        </p:nvSpPr>
        <p:spPr/>
        <p:txBody>
          <a:bodyPr/>
          <a:lstStyle/>
          <a:p>
            <a:fld id="{787BF145-6CDA-4FDB-A3A7-D31A8AE7EBD0}" type="slidenum">
              <a:rPr lang="pt-BR" smtClean="0"/>
              <a:t>‹nº›</a:t>
            </a:fld>
            <a:endParaRPr lang="pt-BR"/>
          </a:p>
        </p:txBody>
      </p:sp>
    </p:spTree>
    <p:extLst>
      <p:ext uri="{BB962C8B-B14F-4D97-AF65-F5344CB8AC3E}">
        <p14:creationId xmlns:p14="http://schemas.microsoft.com/office/powerpoint/2010/main" val="57604489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o título mestre</a:t>
            </a:r>
          </a:p>
        </p:txBody>
      </p:sp>
      <p:sp>
        <p:nvSpPr>
          <p:cNvPr id="3" name="Espaço Reservado para Data 2"/>
          <p:cNvSpPr>
            <a:spLocks noGrp="1"/>
          </p:cNvSpPr>
          <p:nvPr>
            <p:ph type="dt" sz="half" idx="10"/>
          </p:nvPr>
        </p:nvSpPr>
        <p:spPr/>
        <p:txBody>
          <a:bodyPr/>
          <a:lstStyle/>
          <a:p>
            <a:fld id="{4147567D-645F-47F3-AACE-4FE6D14F5CEC}" type="datetimeFigureOut">
              <a:rPr lang="pt-BR" smtClean="0"/>
              <a:t>11/05/2026</a:t>
            </a:fld>
            <a:endParaRPr lang="pt-BR"/>
          </a:p>
        </p:txBody>
      </p:sp>
      <p:sp>
        <p:nvSpPr>
          <p:cNvPr id="4" name="Espaço Reservado para Rodapé 3"/>
          <p:cNvSpPr>
            <a:spLocks noGrp="1"/>
          </p:cNvSpPr>
          <p:nvPr>
            <p:ph type="ftr" sz="quarter" idx="11"/>
          </p:nvPr>
        </p:nvSpPr>
        <p:spPr/>
        <p:txBody>
          <a:bodyPr/>
          <a:lstStyle/>
          <a:p>
            <a:endParaRPr lang="pt-BR"/>
          </a:p>
        </p:txBody>
      </p:sp>
      <p:sp>
        <p:nvSpPr>
          <p:cNvPr id="5" name="Espaço Reservado para Número de Slide 4"/>
          <p:cNvSpPr>
            <a:spLocks noGrp="1"/>
          </p:cNvSpPr>
          <p:nvPr>
            <p:ph type="sldNum" sz="quarter" idx="12"/>
          </p:nvPr>
        </p:nvSpPr>
        <p:spPr/>
        <p:txBody>
          <a:bodyPr/>
          <a:lstStyle/>
          <a:p>
            <a:fld id="{787BF145-6CDA-4FDB-A3A7-D31A8AE7EBD0}" type="slidenum">
              <a:rPr lang="pt-BR" smtClean="0"/>
              <a:t>‹nº›</a:t>
            </a:fld>
            <a:endParaRPr lang="pt-BR"/>
          </a:p>
        </p:txBody>
      </p:sp>
    </p:spTree>
    <p:extLst>
      <p:ext uri="{BB962C8B-B14F-4D97-AF65-F5344CB8AC3E}">
        <p14:creationId xmlns:p14="http://schemas.microsoft.com/office/powerpoint/2010/main" val="90925722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p:cNvSpPr>
            <a:spLocks noGrp="1"/>
          </p:cNvSpPr>
          <p:nvPr>
            <p:ph type="dt" sz="half" idx="10"/>
          </p:nvPr>
        </p:nvSpPr>
        <p:spPr/>
        <p:txBody>
          <a:bodyPr/>
          <a:lstStyle/>
          <a:p>
            <a:fld id="{4147567D-645F-47F3-AACE-4FE6D14F5CEC}" type="datetimeFigureOut">
              <a:rPr lang="pt-BR" smtClean="0"/>
              <a:t>11/05/2026</a:t>
            </a:fld>
            <a:endParaRPr lang="pt-BR"/>
          </a:p>
        </p:txBody>
      </p:sp>
      <p:sp>
        <p:nvSpPr>
          <p:cNvPr id="3" name="Espaço Reservado para Rodapé 2"/>
          <p:cNvSpPr>
            <a:spLocks noGrp="1"/>
          </p:cNvSpPr>
          <p:nvPr>
            <p:ph type="ftr" sz="quarter" idx="11"/>
          </p:nvPr>
        </p:nvSpPr>
        <p:spPr/>
        <p:txBody>
          <a:bodyPr/>
          <a:lstStyle/>
          <a:p>
            <a:endParaRPr lang="pt-BR"/>
          </a:p>
        </p:txBody>
      </p:sp>
      <p:sp>
        <p:nvSpPr>
          <p:cNvPr id="4" name="Espaço Reservado para Número de Slide 3"/>
          <p:cNvSpPr>
            <a:spLocks noGrp="1"/>
          </p:cNvSpPr>
          <p:nvPr>
            <p:ph type="sldNum" sz="quarter" idx="12"/>
          </p:nvPr>
        </p:nvSpPr>
        <p:spPr/>
        <p:txBody>
          <a:bodyPr/>
          <a:lstStyle/>
          <a:p>
            <a:fld id="{787BF145-6CDA-4FDB-A3A7-D31A8AE7EBD0}" type="slidenum">
              <a:rPr lang="pt-BR" smtClean="0"/>
              <a:t>‹nº›</a:t>
            </a:fld>
            <a:endParaRPr lang="pt-BR"/>
          </a:p>
        </p:txBody>
      </p:sp>
    </p:spTree>
    <p:extLst>
      <p:ext uri="{BB962C8B-B14F-4D97-AF65-F5344CB8AC3E}">
        <p14:creationId xmlns:p14="http://schemas.microsoft.com/office/powerpoint/2010/main" val="184406196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840318" y="457200"/>
            <a:ext cx="3932767" cy="1600200"/>
          </a:xfrm>
        </p:spPr>
        <p:txBody>
          <a:bodyPr anchor="b"/>
          <a:lstStyle>
            <a:lvl1pPr>
              <a:defRPr sz="3200"/>
            </a:lvl1pPr>
          </a:lstStyle>
          <a:p>
            <a:r>
              <a:rPr lang="pt-BR"/>
              <a:t>Clique para editar o título mestre</a:t>
            </a:r>
          </a:p>
        </p:txBody>
      </p:sp>
      <p:sp>
        <p:nvSpPr>
          <p:cNvPr id="3" name="Espaço Reservado para Conteúdo 2"/>
          <p:cNvSpPr>
            <a:spLocks noGrp="1"/>
          </p:cNvSpPr>
          <p:nvPr>
            <p:ph idx="1"/>
          </p:nvPr>
        </p:nvSpPr>
        <p:spPr>
          <a:xfrm>
            <a:off x="5183717"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Texto 3"/>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Clique para editar o texto mestre</a:t>
            </a:r>
          </a:p>
        </p:txBody>
      </p:sp>
      <p:sp>
        <p:nvSpPr>
          <p:cNvPr id="5" name="Espaço Reservado para Data 4"/>
          <p:cNvSpPr>
            <a:spLocks noGrp="1"/>
          </p:cNvSpPr>
          <p:nvPr>
            <p:ph type="dt" sz="half" idx="10"/>
          </p:nvPr>
        </p:nvSpPr>
        <p:spPr/>
        <p:txBody>
          <a:bodyPr/>
          <a:lstStyle/>
          <a:p>
            <a:fld id="{4147567D-645F-47F3-AACE-4FE6D14F5CEC}" type="datetimeFigureOut">
              <a:rPr lang="pt-BR" smtClean="0"/>
              <a:t>11/05/2026</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787BF145-6CDA-4FDB-A3A7-D31A8AE7EBD0}" type="slidenum">
              <a:rPr lang="pt-BR" smtClean="0"/>
              <a:t>‹nº›</a:t>
            </a:fld>
            <a:endParaRPr lang="pt-BR"/>
          </a:p>
        </p:txBody>
      </p:sp>
    </p:spTree>
    <p:extLst>
      <p:ext uri="{BB962C8B-B14F-4D97-AF65-F5344CB8AC3E}">
        <p14:creationId xmlns:p14="http://schemas.microsoft.com/office/powerpoint/2010/main" val="44574557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840318" y="457200"/>
            <a:ext cx="3932767" cy="1600200"/>
          </a:xfrm>
        </p:spPr>
        <p:txBody>
          <a:bodyPr anchor="b"/>
          <a:lstStyle>
            <a:lvl1pPr>
              <a:defRPr sz="3200"/>
            </a:lvl1pPr>
          </a:lstStyle>
          <a:p>
            <a:r>
              <a:rPr lang="pt-BR"/>
              <a:t>Clique para editar o título mestre</a:t>
            </a:r>
          </a:p>
        </p:txBody>
      </p:sp>
      <p:sp>
        <p:nvSpPr>
          <p:cNvPr id="3" name="Espaço Reservado para Imagem 2"/>
          <p:cNvSpPr>
            <a:spLocks noGrp="1"/>
          </p:cNvSpPr>
          <p:nvPr>
            <p:ph type="pic" idx="1"/>
          </p:nvPr>
        </p:nvSpPr>
        <p:spPr>
          <a:xfrm>
            <a:off x="5183717" y="987426"/>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t-BR"/>
          </a:p>
        </p:txBody>
      </p:sp>
      <p:sp>
        <p:nvSpPr>
          <p:cNvPr id="4" name="Espaço Reservado para Texto 3"/>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Clique para editar o texto mestre</a:t>
            </a:r>
          </a:p>
        </p:txBody>
      </p:sp>
      <p:sp>
        <p:nvSpPr>
          <p:cNvPr id="5" name="Espaço Reservado para Data 4"/>
          <p:cNvSpPr>
            <a:spLocks noGrp="1"/>
          </p:cNvSpPr>
          <p:nvPr>
            <p:ph type="dt" sz="half" idx="10"/>
          </p:nvPr>
        </p:nvSpPr>
        <p:spPr/>
        <p:txBody>
          <a:bodyPr/>
          <a:lstStyle/>
          <a:p>
            <a:fld id="{4147567D-645F-47F3-AACE-4FE6D14F5CEC}" type="datetimeFigureOut">
              <a:rPr lang="pt-BR" smtClean="0"/>
              <a:t>11/05/2026</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787BF145-6CDA-4FDB-A3A7-D31A8AE7EBD0}" type="slidenum">
              <a:rPr lang="pt-BR" smtClean="0"/>
              <a:t>‹nº›</a:t>
            </a:fld>
            <a:endParaRPr lang="pt-BR"/>
          </a:p>
        </p:txBody>
      </p:sp>
    </p:spTree>
    <p:extLst>
      <p:ext uri="{BB962C8B-B14F-4D97-AF65-F5344CB8AC3E}">
        <p14:creationId xmlns:p14="http://schemas.microsoft.com/office/powerpoint/2010/main" val="147175634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o título mestre</a:t>
            </a:r>
          </a:p>
        </p:txBody>
      </p:sp>
      <p:sp>
        <p:nvSpPr>
          <p:cNvPr id="3" name="Espaço Reservado para Texto Vertical 2"/>
          <p:cNvSpPr>
            <a:spLocks noGrp="1"/>
          </p:cNvSpPr>
          <p:nvPr>
            <p:ph type="body" orient="vert" idx="1"/>
          </p:nvPr>
        </p:nvSpPr>
        <p:spPr/>
        <p:txBody>
          <a:bodyPr vert="eaVert"/>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p:cNvSpPr>
            <a:spLocks noGrp="1"/>
          </p:cNvSpPr>
          <p:nvPr>
            <p:ph type="dt" sz="half" idx="10"/>
          </p:nvPr>
        </p:nvSpPr>
        <p:spPr/>
        <p:txBody>
          <a:bodyPr/>
          <a:lstStyle/>
          <a:p>
            <a:fld id="{4147567D-645F-47F3-AACE-4FE6D14F5CEC}" type="datetimeFigureOut">
              <a:rPr lang="pt-BR" smtClean="0"/>
              <a:t>11/05/2026</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787BF145-6CDA-4FDB-A3A7-D31A8AE7EBD0}" type="slidenum">
              <a:rPr lang="pt-BR" smtClean="0"/>
              <a:t>‹nº›</a:t>
            </a:fld>
            <a:endParaRPr lang="pt-BR"/>
          </a:p>
        </p:txBody>
      </p:sp>
    </p:spTree>
    <p:extLst>
      <p:ext uri="{BB962C8B-B14F-4D97-AF65-F5344CB8AC3E}">
        <p14:creationId xmlns:p14="http://schemas.microsoft.com/office/powerpoint/2010/main" val="174610715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8724901" y="365125"/>
            <a:ext cx="2628900" cy="5811838"/>
          </a:xfrm>
        </p:spPr>
        <p:txBody>
          <a:bodyPr vert="eaVert"/>
          <a:lstStyle/>
          <a:p>
            <a:r>
              <a:rPr lang="pt-BR"/>
              <a:t>Clique para editar o título mestre</a:t>
            </a:r>
          </a:p>
        </p:txBody>
      </p:sp>
      <p:sp>
        <p:nvSpPr>
          <p:cNvPr id="3" name="Espaço Reservado para Texto Vertical 2"/>
          <p:cNvSpPr>
            <a:spLocks noGrp="1"/>
          </p:cNvSpPr>
          <p:nvPr>
            <p:ph type="body" orient="vert" idx="1"/>
          </p:nvPr>
        </p:nvSpPr>
        <p:spPr>
          <a:xfrm>
            <a:off x="838201" y="365125"/>
            <a:ext cx="7683500" cy="5811838"/>
          </a:xfrm>
        </p:spPr>
        <p:txBody>
          <a:bodyPr vert="eaVert"/>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p:cNvSpPr>
            <a:spLocks noGrp="1"/>
          </p:cNvSpPr>
          <p:nvPr>
            <p:ph type="dt" sz="half" idx="10"/>
          </p:nvPr>
        </p:nvSpPr>
        <p:spPr/>
        <p:txBody>
          <a:bodyPr/>
          <a:lstStyle/>
          <a:p>
            <a:fld id="{4147567D-645F-47F3-AACE-4FE6D14F5CEC}" type="datetimeFigureOut">
              <a:rPr lang="pt-BR" smtClean="0"/>
              <a:t>11/05/2026</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787BF145-6CDA-4FDB-A3A7-D31A8AE7EBD0}" type="slidenum">
              <a:rPr lang="pt-BR" smtClean="0"/>
              <a:t>‹nº›</a:t>
            </a:fld>
            <a:endParaRPr lang="pt-BR"/>
          </a:p>
        </p:txBody>
      </p:sp>
    </p:spTree>
    <p:extLst>
      <p:ext uri="{BB962C8B-B14F-4D97-AF65-F5344CB8AC3E}">
        <p14:creationId xmlns:p14="http://schemas.microsoft.com/office/powerpoint/2010/main" val="109884012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p:nvPr>
        </p:nvSpPr>
        <p:spPr>
          <a:xfrm>
            <a:off x="893267" y="1623228"/>
            <a:ext cx="2854960" cy="615553"/>
          </a:xfrm>
          <a:prstGeom prst="rect">
            <a:avLst/>
          </a:prstGeom>
        </p:spPr>
        <p:txBody>
          <a:bodyPr wrap="square" lIns="0" tIns="0" rIns="0" bIns="0">
            <a:spAutoFit/>
          </a:bodyPr>
          <a:lstStyle>
            <a:lvl1pPr>
              <a:defRPr sz="4000" b="1" i="1">
                <a:solidFill>
                  <a:schemeClr val="tx1"/>
                </a:solidFill>
                <a:latin typeface="Trebuchet MS"/>
                <a:cs typeface="Trebuchet MS"/>
              </a:defRPr>
            </a:lvl1pPr>
          </a:lstStyle>
          <a:p>
            <a:endParaRPr/>
          </a:p>
        </p:txBody>
      </p:sp>
      <p:sp>
        <p:nvSpPr>
          <p:cNvPr id="3" name="Holder 3"/>
          <p:cNvSpPr>
            <a:spLocks noGrp="1"/>
          </p:cNvSpPr>
          <p:nvPr>
            <p:ph type="subTitle" idx="4"/>
          </p:nvPr>
        </p:nvSpPr>
        <p:spPr>
          <a:xfrm>
            <a:off x="1828800" y="3840481"/>
            <a:ext cx="8534400" cy="461665"/>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11/2026</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º›</a:t>
            </a:fld>
            <a:endParaRPr/>
          </a:p>
        </p:txBody>
      </p:sp>
    </p:spTree>
    <p:extLst>
      <p:ext uri="{BB962C8B-B14F-4D97-AF65-F5344CB8AC3E}">
        <p14:creationId xmlns:p14="http://schemas.microsoft.com/office/powerpoint/2010/main" val="324787608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798029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Título e Conteúdo">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34678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EBC5DDF-0C37-81B5-800C-DEBFA9D447F8}"/>
              </a:ext>
            </a:extLst>
          </p:cNvPr>
          <p:cNvSpPr>
            <a:spLocks noGrp="1"/>
          </p:cNvSpPr>
          <p:nvPr>
            <p:ph type="title"/>
          </p:nvPr>
        </p:nvSpPr>
        <p:spPr>
          <a:xfrm>
            <a:off x="839788" y="365125"/>
            <a:ext cx="10515600" cy="1325563"/>
          </a:xfrm>
        </p:spPr>
        <p:txBody>
          <a:bodyPr/>
          <a:lstStyle/>
          <a:p>
            <a:r>
              <a:rPr lang="pt-BR"/>
              <a:t>Clique para editar o título Mestre</a:t>
            </a:r>
          </a:p>
        </p:txBody>
      </p:sp>
      <p:sp>
        <p:nvSpPr>
          <p:cNvPr id="3" name="Espaço Reservado para Texto 2">
            <a:extLst>
              <a:ext uri="{FF2B5EF4-FFF2-40B4-BE49-F238E27FC236}">
                <a16:creationId xmlns:a16="http://schemas.microsoft.com/office/drawing/2014/main" id="{488E1709-AEDB-EFCB-5009-BFBDF58630F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e texto Mestres</a:t>
            </a:r>
          </a:p>
        </p:txBody>
      </p:sp>
      <p:sp>
        <p:nvSpPr>
          <p:cNvPr id="4" name="Espaço Reservado para Conteúdo 3">
            <a:extLst>
              <a:ext uri="{FF2B5EF4-FFF2-40B4-BE49-F238E27FC236}">
                <a16:creationId xmlns:a16="http://schemas.microsoft.com/office/drawing/2014/main" id="{F95312AE-A7C1-8F44-9DD3-5AEFA3766667}"/>
              </a:ext>
            </a:extLst>
          </p:cNvPr>
          <p:cNvSpPr>
            <a:spLocks noGrp="1"/>
          </p:cNvSpPr>
          <p:nvPr>
            <p:ph sz="half" idx="2"/>
          </p:nvPr>
        </p:nvSpPr>
        <p:spPr>
          <a:xfrm>
            <a:off x="839788" y="2505075"/>
            <a:ext cx="5157787" cy="368458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Texto 4">
            <a:extLst>
              <a:ext uri="{FF2B5EF4-FFF2-40B4-BE49-F238E27FC236}">
                <a16:creationId xmlns:a16="http://schemas.microsoft.com/office/drawing/2014/main" id="{21779537-C62A-974E-2B3A-E5460022336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e texto Mestres</a:t>
            </a:r>
          </a:p>
        </p:txBody>
      </p:sp>
      <p:sp>
        <p:nvSpPr>
          <p:cNvPr id="6" name="Espaço Reservado para Conteúdo 5">
            <a:extLst>
              <a:ext uri="{FF2B5EF4-FFF2-40B4-BE49-F238E27FC236}">
                <a16:creationId xmlns:a16="http://schemas.microsoft.com/office/drawing/2014/main" id="{AEBAD8E6-B6B9-29D7-8FF3-4D0A8F7E9CBB}"/>
              </a:ext>
            </a:extLst>
          </p:cNvPr>
          <p:cNvSpPr>
            <a:spLocks noGrp="1"/>
          </p:cNvSpPr>
          <p:nvPr>
            <p:ph sz="quarter" idx="4"/>
          </p:nvPr>
        </p:nvSpPr>
        <p:spPr>
          <a:xfrm>
            <a:off x="6172200" y="2505075"/>
            <a:ext cx="5183188" cy="368458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7" name="Espaço Reservado para Data 6">
            <a:extLst>
              <a:ext uri="{FF2B5EF4-FFF2-40B4-BE49-F238E27FC236}">
                <a16:creationId xmlns:a16="http://schemas.microsoft.com/office/drawing/2014/main" id="{B70025BC-E145-B500-42BF-60D2ADB944F4}"/>
              </a:ext>
            </a:extLst>
          </p:cNvPr>
          <p:cNvSpPr>
            <a:spLocks noGrp="1"/>
          </p:cNvSpPr>
          <p:nvPr>
            <p:ph type="dt" sz="half" idx="10"/>
          </p:nvPr>
        </p:nvSpPr>
        <p:spPr/>
        <p:txBody>
          <a:bodyPr/>
          <a:lstStyle/>
          <a:p>
            <a:fld id="{469AC970-D5BA-4C8F-B1E1-CD031371C8D9}" type="datetimeFigureOut">
              <a:rPr lang="pt-BR" smtClean="0"/>
              <a:t>11/05/2026</a:t>
            </a:fld>
            <a:endParaRPr lang="pt-BR"/>
          </a:p>
        </p:txBody>
      </p:sp>
      <p:sp>
        <p:nvSpPr>
          <p:cNvPr id="8" name="Espaço Reservado para Rodapé 7">
            <a:extLst>
              <a:ext uri="{FF2B5EF4-FFF2-40B4-BE49-F238E27FC236}">
                <a16:creationId xmlns:a16="http://schemas.microsoft.com/office/drawing/2014/main" id="{8CC4F475-4585-B3C9-4287-F5EC99BC984B}"/>
              </a:ext>
            </a:extLst>
          </p:cNvPr>
          <p:cNvSpPr>
            <a:spLocks noGrp="1"/>
          </p:cNvSpPr>
          <p:nvPr>
            <p:ph type="ftr" sz="quarter" idx="11"/>
          </p:nvPr>
        </p:nvSpPr>
        <p:spPr/>
        <p:txBody>
          <a:bodyPr/>
          <a:lstStyle/>
          <a:p>
            <a:endParaRPr lang="pt-BR"/>
          </a:p>
        </p:txBody>
      </p:sp>
      <p:sp>
        <p:nvSpPr>
          <p:cNvPr id="9" name="Espaço Reservado para Número de Slide 8">
            <a:extLst>
              <a:ext uri="{FF2B5EF4-FFF2-40B4-BE49-F238E27FC236}">
                <a16:creationId xmlns:a16="http://schemas.microsoft.com/office/drawing/2014/main" id="{57882465-E35B-3E7E-1885-DBCE178B56C3}"/>
              </a:ext>
            </a:extLst>
          </p:cNvPr>
          <p:cNvSpPr>
            <a:spLocks noGrp="1"/>
          </p:cNvSpPr>
          <p:nvPr>
            <p:ph type="sldNum" sz="quarter" idx="12"/>
          </p:nvPr>
        </p:nvSpPr>
        <p:spPr/>
        <p:txBody>
          <a:bodyPr/>
          <a:lstStyle/>
          <a:p>
            <a:fld id="{C2DC0A5C-548C-4DDD-B0B9-C90FCFE2B2B1}" type="slidenum">
              <a:rPr lang="pt-BR" smtClean="0"/>
              <a:t>‹nº›</a:t>
            </a:fld>
            <a:endParaRPr lang="pt-BR"/>
          </a:p>
        </p:txBody>
      </p:sp>
    </p:spTree>
    <p:extLst>
      <p:ext uri="{BB962C8B-B14F-4D97-AF65-F5344CB8AC3E}">
        <p14:creationId xmlns:p14="http://schemas.microsoft.com/office/powerpoint/2010/main" val="211499012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Layout Personalizado">
    <p:spTree>
      <p:nvGrpSpPr>
        <p:cNvPr id="1" name=""/>
        <p:cNvGrpSpPr/>
        <p:nvPr/>
      </p:nvGrpSpPr>
      <p:grpSpPr>
        <a:xfrm>
          <a:off x="0" y="0"/>
          <a:ext cx="0" cy="0"/>
          <a:chOff x="0" y="0"/>
          <a:chExt cx="0" cy="0"/>
        </a:xfrm>
      </p:grpSpPr>
      <p:sp>
        <p:nvSpPr>
          <p:cNvPr id="3" name="Retângulo 2"/>
          <p:cNvSpPr/>
          <p:nvPr userDrawn="1"/>
        </p:nvSpPr>
        <p:spPr>
          <a:xfrm>
            <a:off x="9965746" y="76200"/>
            <a:ext cx="2115101"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900"/>
          </a:p>
        </p:txBody>
      </p:sp>
      <p:sp>
        <p:nvSpPr>
          <p:cNvPr id="4" name="Retângulo 3"/>
          <p:cNvSpPr/>
          <p:nvPr userDrawn="1"/>
        </p:nvSpPr>
        <p:spPr>
          <a:xfrm>
            <a:off x="11442506" y="6194425"/>
            <a:ext cx="638341"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900"/>
          </a:p>
        </p:txBody>
      </p:sp>
      <p:sp>
        <p:nvSpPr>
          <p:cNvPr id="5" name="Espaço Reservado para Texto 12">
            <a:extLst>
              <a:ext uri="{FF2B5EF4-FFF2-40B4-BE49-F238E27FC236}">
                <a16:creationId xmlns:a16="http://schemas.microsoft.com/office/drawing/2014/main" id="{F4BC1037-E04D-4F72-B21E-A0B11DFF092B}"/>
              </a:ext>
            </a:extLst>
          </p:cNvPr>
          <p:cNvSpPr>
            <a:spLocks noGrp="1"/>
          </p:cNvSpPr>
          <p:nvPr>
            <p:ph type="body" sz="quarter" idx="16"/>
          </p:nvPr>
        </p:nvSpPr>
        <p:spPr>
          <a:xfrm>
            <a:off x="285826" y="495181"/>
            <a:ext cx="5548004" cy="360040"/>
          </a:xfrm>
          <a:prstGeom prst="rect">
            <a:avLst/>
          </a:prstGeom>
        </p:spPr>
        <p:txBody>
          <a:bodyPr>
            <a:noAutofit/>
          </a:bodyPr>
          <a:lstStyle>
            <a:lvl1pPr marL="0" indent="0">
              <a:buNone/>
              <a:defRPr sz="2400" b="1" baseline="0">
                <a:solidFill>
                  <a:schemeClr val="tx1"/>
                </a:solidFill>
                <a:latin typeface="Trebuchet MS"/>
              </a:defRPr>
            </a:lvl1pPr>
          </a:lstStyle>
          <a:p>
            <a:pPr lvl="0"/>
            <a:endParaRPr lang="pt-BR"/>
          </a:p>
        </p:txBody>
      </p:sp>
      <p:sp>
        <p:nvSpPr>
          <p:cNvPr id="7" name="Retângulo 6">
            <a:extLst>
              <a:ext uri="{FF2B5EF4-FFF2-40B4-BE49-F238E27FC236}">
                <a16:creationId xmlns:a16="http://schemas.microsoft.com/office/drawing/2014/main" id="{3DC6E84A-3001-4892-A8E9-8432B8F7E462}"/>
              </a:ext>
            </a:extLst>
          </p:cNvPr>
          <p:cNvSpPr/>
          <p:nvPr userDrawn="1"/>
        </p:nvSpPr>
        <p:spPr>
          <a:xfrm>
            <a:off x="285826" y="753106"/>
            <a:ext cx="262404" cy="461665"/>
          </a:xfrm>
          <a:prstGeom prst="rect">
            <a:avLst/>
          </a:prstGeom>
        </p:spPr>
        <p:txBody>
          <a:bodyPr wrap="square">
            <a:spAutoFit/>
          </a:bodyPr>
          <a:lstStyle/>
          <a:p>
            <a:pPr>
              <a:spcBef>
                <a:spcPct val="20000"/>
              </a:spcBef>
            </a:pPr>
            <a:r>
              <a:rPr lang="en-US" altLang="pt-BR" sz="2400" b="1">
                <a:solidFill>
                  <a:srgbClr val="FDC82F"/>
                </a:solidFill>
                <a:latin typeface="Trebuchet MS" panose="020B0603020202020204" pitchFamily="34" charset="0"/>
              </a:rPr>
              <a:t>—</a:t>
            </a:r>
          </a:p>
        </p:txBody>
      </p:sp>
    </p:spTree>
    <p:extLst>
      <p:ext uri="{BB962C8B-B14F-4D97-AF65-F5344CB8AC3E}">
        <p14:creationId xmlns:p14="http://schemas.microsoft.com/office/powerpoint/2010/main" val="3361850770"/>
      </p:ext>
    </p:extLst>
  </p:cSld>
  <p:clrMapOvr>
    <a:masterClrMapping/>
  </p:clrMapOvr>
  <p:transition spd="med">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2_Slide de Título">
    <p:spTree>
      <p:nvGrpSpPr>
        <p:cNvPr id="1" name=""/>
        <p:cNvGrpSpPr/>
        <p:nvPr/>
      </p:nvGrpSpPr>
      <p:grpSpPr>
        <a:xfrm>
          <a:off x="0" y="0"/>
          <a:ext cx="0" cy="0"/>
          <a:chOff x="0" y="0"/>
          <a:chExt cx="0" cy="0"/>
        </a:xfrm>
      </p:grpSpPr>
      <p:sp>
        <p:nvSpPr>
          <p:cNvPr id="17" name="Retângulo 14">
            <a:extLst>
              <a:ext uri="{FF2B5EF4-FFF2-40B4-BE49-F238E27FC236}">
                <a16:creationId xmlns:a16="http://schemas.microsoft.com/office/drawing/2014/main" id="{920BCF7B-EEDE-CB3E-FBBF-86DFE7F81E61}"/>
              </a:ext>
            </a:extLst>
          </p:cNvPr>
          <p:cNvSpPr/>
          <p:nvPr userDrawn="1"/>
        </p:nvSpPr>
        <p:spPr>
          <a:xfrm>
            <a:off x="0" y="135832"/>
            <a:ext cx="12192000" cy="655879"/>
          </a:xfrm>
          <a:custGeom>
            <a:avLst/>
            <a:gdLst>
              <a:gd name="connsiteX0" fmla="*/ 0 w 24377650"/>
              <a:gd name="connsiteY0" fmla="*/ 0 h 740229"/>
              <a:gd name="connsiteX1" fmla="*/ 24377650 w 24377650"/>
              <a:gd name="connsiteY1" fmla="*/ 0 h 740229"/>
              <a:gd name="connsiteX2" fmla="*/ 24377650 w 24377650"/>
              <a:gd name="connsiteY2" fmla="*/ 740229 h 740229"/>
              <a:gd name="connsiteX3" fmla="*/ 0 w 24377650"/>
              <a:gd name="connsiteY3" fmla="*/ 740229 h 740229"/>
              <a:gd name="connsiteX4" fmla="*/ 0 w 24377650"/>
              <a:gd name="connsiteY4" fmla="*/ 0 h 740229"/>
              <a:gd name="connsiteX0" fmla="*/ 0 w 24377650"/>
              <a:gd name="connsiteY0" fmla="*/ 0 h 740229"/>
              <a:gd name="connsiteX1" fmla="*/ 24377650 w 24377650"/>
              <a:gd name="connsiteY1" fmla="*/ 0 h 740229"/>
              <a:gd name="connsiteX2" fmla="*/ 24377650 w 24377650"/>
              <a:gd name="connsiteY2" fmla="*/ 740229 h 740229"/>
              <a:gd name="connsiteX3" fmla="*/ 4397829 w 24377650"/>
              <a:gd name="connsiteY3" fmla="*/ 710775 h 740229"/>
              <a:gd name="connsiteX4" fmla="*/ 0 w 24377650"/>
              <a:gd name="connsiteY4" fmla="*/ 740229 h 740229"/>
              <a:gd name="connsiteX5" fmla="*/ 0 w 24377650"/>
              <a:gd name="connsiteY5" fmla="*/ 0 h 740229"/>
              <a:gd name="connsiteX0" fmla="*/ 0 w 24377650"/>
              <a:gd name="connsiteY0" fmla="*/ 0 h 1603403"/>
              <a:gd name="connsiteX1" fmla="*/ 24377650 w 24377650"/>
              <a:gd name="connsiteY1" fmla="*/ 0 h 1603403"/>
              <a:gd name="connsiteX2" fmla="*/ 24377650 w 24377650"/>
              <a:gd name="connsiteY2" fmla="*/ 740229 h 1603403"/>
              <a:gd name="connsiteX3" fmla="*/ 1415143 w 24377650"/>
              <a:gd name="connsiteY3" fmla="*/ 1603403 h 1603403"/>
              <a:gd name="connsiteX4" fmla="*/ 0 w 24377650"/>
              <a:gd name="connsiteY4" fmla="*/ 740229 h 1603403"/>
              <a:gd name="connsiteX5" fmla="*/ 0 w 24377650"/>
              <a:gd name="connsiteY5" fmla="*/ 0 h 1603403"/>
              <a:gd name="connsiteX0" fmla="*/ 0 w 24377650"/>
              <a:gd name="connsiteY0" fmla="*/ 0 h 1603403"/>
              <a:gd name="connsiteX1" fmla="*/ 24377650 w 24377650"/>
              <a:gd name="connsiteY1" fmla="*/ 0 h 1603403"/>
              <a:gd name="connsiteX2" fmla="*/ 24377650 w 24377650"/>
              <a:gd name="connsiteY2" fmla="*/ 740229 h 1603403"/>
              <a:gd name="connsiteX3" fmla="*/ 1915886 w 24377650"/>
              <a:gd name="connsiteY3" fmla="*/ 1581632 h 1603403"/>
              <a:gd name="connsiteX4" fmla="*/ 1415143 w 24377650"/>
              <a:gd name="connsiteY4" fmla="*/ 1603403 h 1603403"/>
              <a:gd name="connsiteX5" fmla="*/ 0 w 24377650"/>
              <a:gd name="connsiteY5" fmla="*/ 740229 h 1603403"/>
              <a:gd name="connsiteX6" fmla="*/ 0 w 24377650"/>
              <a:gd name="connsiteY6" fmla="*/ 0 h 1603403"/>
              <a:gd name="connsiteX0" fmla="*/ 0 w 24377650"/>
              <a:gd name="connsiteY0" fmla="*/ 0 h 1746732"/>
              <a:gd name="connsiteX1" fmla="*/ 24377650 w 24377650"/>
              <a:gd name="connsiteY1" fmla="*/ 0 h 1746732"/>
              <a:gd name="connsiteX2" fmla="*/ 24377650 w 24377650"/>
              <a:gd name="connsiteY2" fmla="*/ 740229 h 1746732"/>
              <a:gd name="connsiteX3" fmla="*/ 1687286 w 24377650"/>
              <a:gd name="connsiteY3" fmla="*/ 1746732 h 1746732"/>
              <a:gd name="connsiteX4" fmla="*/ 1415143 w 24377650"/>
              <a:gd name="connsiteY4" fmla="*/ 1603403 h 1746732"/>
              <a:gd name="connsiteX5" fmla="*/ 0 w 24377650"/>
              <a:gd name="connsiteY5" fmla="*/ 740229 h 1746732"/>
              <a:gd name="connsiteX6" fmla="*/ 0 w 24377650"/>
              <a:gd name="connsiteY6" fmla="*/ 0 h 1746732"/>
              <a:gd name="connsiteX0" fmla="*/ 0 w 24377650"/>
              <a:gd name="connsiteY0" fmla="*/ 0 h 1721332"/>
              <a:gd name="connsiteX1" fmla="*/ 24377650 w 24377650"/>
              <a:gd name="connsiteY1" fmla="*/ 0 h 1721332"/>
              <a:gd name="connsiteX2" fmla="*/ 24377650 w 24377650"/>
              <a:gd name="connsiteY2" fmla="*/ 740229 h 1721332"/>
              <a:gd name="connsiteX3" fmla="*/ 1693636 w 24377650"/>
              <a:gd name="connsiteY3" fmla="*/ 1721332 h 1721332"/>
              <a:gd name="connsiteX4" fmla="*/ 1415143 w 24377650"/>
              <a:gd name="connsiteY4" fmla="*/ 1603403 h 1721332"/>
              <a:gd name="connsiteX5" fmla="*/ 0 w 24377650"/>
              <a:gd name="connsiteY5" fmla="*/ 740229 h 1721332"/>
              <a:gd name="connsiteX6" fmla="*/ 0 w 24377650"/>
              <a:gd name="connsiteY6" fmla="*/ 0 h 1721332"/>
              <a:gd name="connsiteX0" fmla="*/ 0 w 24377650"/>
              <a:gd name="connsiteY0" fmla="*/ 0 h 1721332"/>
              <a:gd name="connsiteX1" fmla="*/ 24377650 w 24377650"/>
              <a:gd name="connsiteY1" fmla="*/ 0 h 1721332"/>
              <a:gd name="connsiteX2" fmla="*/ 24377650 w 24377650"/>
              <a:gd name="connsiteY2" fmla="*/ 740229 h 1721332"/>
              <a:gd name="connsiteX3" fmla="*/ 1693636 w 24377650"/>
              <a:gd name="connsiteY3" fmla="*/ 1721332 h 1721332"/>
              <a:gd name="connsiteX4" fmla="*/ 1497693 w 24377650"/>
              <a:gd name="connsiteY4" fmla="*/ 1641503 h 1721332"/>
              <a:gd name="connsiteX5" fmla="*/ 0 w 24377650"/>
              <a:gd name="connsiteY5" fmla="*/ 740229 h 1721332"/>
              <a:gd name="connsiteX6" fmla="*/ 0 w 24377650"/>
              <a:gd name="connsiteY6" fmla="*/ 0 h 1721332"/>
              <a:gd name="connsiteX0" fmla="*/ 0 w 24377650"/>
              <a:gd name="connsiteY0" fmla="*/ 0 h 1721332"/>
              <a:gd name="connsiteX1" fmla="*/ 24377650 w 24377650"/>
              <a:gd name="connsiteY1" fmla="*/ 0 h 1721332"/>
              <a:gd name="connsiteX2" fmla="*/ 24377650 w 24377650"/>
              <a:gd name="connsiteY2" fmla="*/ 740229 h 1721332"/>
              <a:gd name="connsiteX3" fmla="*/ 1693636 w 24377650"/>
              <a:gd name="connsiteY3" fmla="*/ 1721332 h 1721332"/>
              <a:gd name="connsiteX4" fmla="*/ 1511981 w 24377650"/>
              <a:gd name="connsiteY4" fmla="*/ 1620072 h 1721332"/>
              <a:gd name="connsiteX5" fmla="*/ 0 w 24377650"/>
              <a:gd name="connsiteY5" fmla="*/ 740229 h 1721332"/>
              <a:gd name="connsiteX6" fmla="*/ 0 w 24377650"/>
              <a:gd name="connsiteY6" fmla="*/ 0 h 1721332"/>
              <a:gd name="connsiteX0" fmla="*/ 0 w 24377650"/>
              <a:gd name="connsiteY0" fmla="*/ 0 h 1721332"/>
              <a:gd name="connsiteX1" fmla="*/ 24377650 w 24377650"/>
              <a:gd name="connsiteY1" fmla="*/ 0 h 1721332"/>
              <a:gd name="connsiteX2" fmla="*/ 24377650 w 24377650"/>
              <a:gd name="connsiteY2" fmla="*/ 740229 h 1721332"/>
              <a:gd name="connsiteX3" fmla="*/ 1693636 w 24377650"/>
              <a:gd name="connsiteY3" fmla="*/ 1721332 h 1721332"/>
              <a:gd name="connsiteX4" fmla="*/ 1476262 w 24377650"/>
              <a:gd name="connsiteY4" fmla="*/ 1672459 h 1721332"/>
              <a:gd name="connsiteX5" fmla="*/ 0 w 24377650"/>
              <a:gd name="connsiteY5" fmla="*/ 740229 h 1721332"/>
              <a:gd name="connsiteX6" fmla="*/ 0 w 24377650"/>
              <a:gd name="connsiteY6" fmla="*/ 0 h 1721332"/>
              <a:gd name="connsiteX0" fmla="*/ 0 w 24377650"/>
              <a:gd name="connsiteY0" fmla="*/ 0 h 1721332"/>
              <a:gd name="connsiteX1" fmla="*/ 24377650 w 24377650"/>
              <a:gd name="connsiteY1" fmla="*/ 0 h 1721332"/>
              <a:gd name="connsiteX2" fmla="*/ 24377650 w 24377650"/>
              <a:gd name="connsiteY2" fmla="*/ 740229 h 1721332"/>
              <a:gd name="connsiteX3" fmla="*/ 1693636 w 24377650"/>
              <a:gd name="connsiteY3" fmla="*/ 1721332 h 1721332"/>
              <a:gd name="connsiteX4" fmla="*/ 1476262 w 24377650"/>
              <a:gd name="connsiteY4" fmla="*/ 1672459 h 1721332"/>
              <a:gd name="connsiteX5" fmla="*/ 0 w 24377650"/>
              <a:gd name="connsiteY5" fmla="*/ 740229 h 1721332"/>
              <a:gd name="connsiteX6" fmla="*/ 0 w 24377650"/>
              <a:gd name="connsiteY6" fmla="*/ 0 h 1721332"/>
              <a:gd name="connsiteX0" fmla="*/ 0 w 24377650"/>
              <a:gd name="connsiteY0" fmla="*/ 0 h 1721782"/>
              <a:gd name="connsiteX1" fmla="*/ 24377650 w 24377650"/>
              <a:gd name="connsiteY1" fmla="*/ 0 h 1721782"/>
              <a:gd name="connsiteX2" fmla="*/ 24377650 w 24377650"/>
              <a:gd name="connsiteY2" fmla="*/ 740229 h 1721782"/>
              <a:gd name="connsiteX3" fmla="*/ 1693636 w 24377650"/>
              <a:gd name="connsiteY3" fmla="*/ 1721332 h 1721782"/>
              <a:gd name="connsiteX4" fmla="*/ 1476262 w 24377650"/>
              <a:gd name="connsiteY4" fmla="*/ 1672459 h 1721782"/>
              <a:gd name="connsiteX5" fmla="*/ 0 w 24377650"/>
              <a:gd name="connsiteY5" fmla="*/ 740229 h 1721782"/>
              <a:gd name="connsiteX6" fmla="*/ 0 w 24377650"/>
              <a:gd name="connsiteY6" fmla="*/ 0 h 1721782"/>
              <a:gd name="connsiteX0" fmla="*/ 0 w 24377650"/>
              <a:gd name="connsiteY0" fmla="*/ 0 h 1746886"/>
              <a:gd name="connsiteX1" fmla="*/ 24377650 w 24377650"/>
              <a:gd name="connsiteY1" fmla="*/ 0 h 1746886"/>
              <a:gd name="connsiteX2" fmla="*/ 24377650 w 24377650"/>
              <a:gd name="connsiteY2" fmla="*/ 740229 h 1746886"/>
              <a:gd name="connsiteX3" fmla="*/ 1719036 w 24377650"/>
              <a:gd name="connsiteY3" fmla="*/ 1746732 h 1746886"/>
              <a:gd name="connsiteX4" fmla="*/ 1476262 w 24377650"/>
              <a:gd name="connsiteY4" fmla="*/ 1672459 h 1746886"/>
              <a:gd name="connsiteX5" fmla="*/ 0 w 24377650"/>
              <a:gd name="connsiteY5" fmla="*/ 740229 h 1746886"/>
              <a:gd name="connsiteX6" fmla="*/ 0 w 24377650"/>
              <a:gd name="connsiteY6" fmla="*/ 0 h 1746886"/>
              <a:gd name="connsiteX0" fmla="*/ 0 w 24377650"/>
              <a:gd name="connsiteY0" fmla="*/ 0 h 1748015"/>
              <a:gd name="connsiteX1" fmla="*/ 24377650 w 24377650"/>
              <a:gd name="connsiteY1" fmla="*/ 0 h 1748015"/>
              <a:gd name="connsiteX2" fmla="*/ 24377650 w 24377650"/>
              <a:gd name="connsiteY2" fmla="*/ 740229 h 1748015"/>
              <a:gd name="connsiteX3" fmla="*/ 1719036 w 24377650"/>
              <a:gd name="connsiteY3" fmla="*/ 1746732 h 1748015"/>
              <a:gd name="connsiteX4" fmla="*/ 1476262 w 24377650"/>
              <a:gd name="connsiteY4" fmla="*/ 1672459 h 1748015"/>
              <a:gd name="connsiteX5" fmla="*/ 0 w 24377650"/>
              <a:gd name="connsiteY5" fmla="*/ 740229 h 1748015"/>
              <a:gd name="connsiteX6" fmla="*/ 0 w 24377650"/>
              <a:gd name="connsiteY6" fmla="*/ 0 h 1748015"/>
              <a:gd name="connsiteX0" fmla="*/ 0 w 24377650"/>
              <a:gd name="connsiteY0" fmla="*/ 0 h 1746844"/>
              <a:gd name="connsiteX1" fmla="*/ 24377650 w 24377650"/>
              <a:gd name="connsiteY1" fmla="*/ 0 h 1746844"/>
              <a:gd name="connsiteX2" fmla="*/ 24377650 w 24377650"/>
              <a:gd name="connsiteY2" fmla="*/ 740229 h 1746844"/>
              <a:gd name="connsiteX3" fmla="*/ 1719036 w 24377650"/>
              <a:gd name="connsiteY3" fmla="*/ 1746732 h 1746844"/>
              <a:gd name="connsiteX4" fmla="*/ 682512 w 24377650"/>
              <a:gd name="connsiteY4" fmla="*/ 1164459 h 1746844"/>
              <a:gd name="connsiteX5" fmla="*/ 0 w 24377650"/>
              <a:gd name="connsiteY5" fmla="*/ 740229 h 1746844"/>
              <a:gd name="connsiteX6" fmla="*/ 0 w 24377650"/>
              <a:gd name="connsiteY6" fmla="*/ 0 h 1746844"/>
              <a:gd name="connsiteX0" fmla="*/ 0 w 24377650"/>
              <a:gd name="connsiteY0" fmla="*/ 0 h 1309112"/>
              <a:gd name="connsiteX1" fmla="*/ 24377650 w 24377650"/>
              <a:gd name="connsiteY1" fmla="*/ 0 h 1309112"/>
              <a:gd name="connsiteX2" fmla="*/ 24377650 w 24377650"/>
              <a:gd name="connsiteY2" fmla="*/ 740229 h 1309112"/>
              <a:gd name="connsiteX3" fmla="*/ 1001486 w 24377650"/>
              <a:gd name="connsiteY3" fmla="*/ 1308582 h 1309112"/>
              <a:gd name="connsiteX4" fmla="*/ 682512 w 24377650"/>
              <a:gd name="connsiteY4" fmla="*/ 1164459 h 1309112"/>
              <a:gd name="connsiteX5" fmla="*/ 0 w 24377650"/>
              <a:gd name="connsiteY5" fmla="*/ 740229 h 1309112"/>
              <a:gd name="connsiteX6" fmla="*/ 0 w 24377650"/>
              <a:gd name="connsiteY6" fmla="*/ 0 h 1309112"/>
              <a:gd name="connsiteX0" fmla="*/ 0 w 24377650"/>
              <a:gd name="connsiteY0" fmla="*/ 0 h 1309720"/>
              <a:gd name="connsiteX1" fmla="*/ 24377650 w 24377650"/>
              <a:gd name="connsiteY1" fmla="*/ 0 h 1309720"/>
              <a:gd name="connsiteX2" fmla="*/ 24377650 w 24377650"/>
              <a:gd name="connsiteY2" fmla="*/ 740229 h 1309720"/>
              <a:gd name="connsiteX3" fmla="*/ 1001486 w 24377650"/>
              <a:gd name="connsiteY3" fmla="*/ 1308582 h 1309720"/>
              <a:gd name="connsiteX4" fmla="*/ 790462 w 24377650"/>
              <a:gd name="connsiteY4" fmla="*/ 1227959 h 1309720"/>
              <a:gd name="connsiteX5" fmla="*/ 0 w 24377650"/>
              <a:gd name="connsiteY5" fmla="*/ 740229 h 1309720"/>
              <a:gd name="connsiteX6" fmla="*/ 0 w 24377650"/>
              <a:gd name="connsiteY6" fmla="*/ 0 h 1309720"/>
              <a:gd name="connsiteX0" fmla="*/ 0 w 24377650"/>
              <a:gd name="connsiteY0" fmla="*/ 0 h 1312834"/>
              <a:gd name="connsiteX1" fmla="*/ 24377650 w 24377650"/>
              <a:gd name="connsiteY1" fmla="*/ 0 h 1312834"/>
              <a:gd name="connsiteX2" fmla="*/ 24377650 w 24377650"/>
              <a:gd name="connsiteY2" fmla="*/ 740229 h 1312834"/>
              <a:gd name="connsiteX3" fmla="*/ 1064986 w 24377650"/>
              <a:gd name="connsiteY3" fmla="*/ 1311757 h 1312834"/>
              <a:gd name="connsiteX4" fmla="*/ 790462 w 24377650"/>
              <a:gd name="connsiteY4" fmla="*/ 1227959 h 1312834"/>
              <a:gd name="connsiteX5" fmla="*/ 0 w 24377650"/>
              <a:gd name="connsiteY5" fmla="*/ 740229 h 1312834"/>
              <a:gd name="connsiteX6" fmla="*/ 0 w 24377650"/>
              <a:gd name="connsiteY6" fmla="*/ 0 h 1312834"/>
              <a:gd name="connsiteX0" fmla="*/ 0 w 24377650"/>
              <a:gd name="connsiteY0" fmla="*/ 0 h 1311757"/>
              <a:gd name="connsiteX1" fmla="*/ 24377650 w 24377650"/>
              <a:gd name="connsiteY1" fmla="*/ 0 h 1311757"/>
              <a:gd name="connsiteX2" fmla="*/ 24377650 w 24377650"/>
              <a:gd name="connsiteY2" fmla="*/ 740229 h 1311757"/>
              <a:gd name="connsiteX3" fmla="*/ 1064986 w 24377650"/>
              <a:gd name="connsiteY3" fmla="*/ 1311757 h 1311757"/>
              <a:gd name="connsiteX4" fmla="*/ 790462 w 24377650"/>
              <a:gd name="connsiteY4" fmla="*/ 1227959 h 1311757"/>
              <a:gd name="connsiteX5" fmla="*/ 0 w 24377650"/>
              <a:gd name="connsiteY5" fmla="*/ 740229 h 1311757"/>
              <a:gd name="connsiteX6" fmla="*/ 0 w 24377650"/>
              <a:gd name="connsiteY6" fmla="*/ 0 h 1311757"/>
              <a:gd name="connsiteX0" fmla="*/ 0 w 24377650"/>
              <a:gd name="connsiteY0" fmla="*/ 0 h 1311757"/>
              <a:gd name="connsiteX1" fmla="*/ 24377650 w 24377650"/>
              <a:gd name="connsiteY1" fmla="*/ 0 h 1311757"/>
              <a:gd name="connsiteX2" fmla="*/ 24377650 w 24377650"/>
              <a:gd name="connsiteY2" fmla="*/ 740229 h 1311757"/>
              <a:gd name="connsiteX3" fmla="*/ 1064986 w 24377650"/>
              <a:gd name="connsiteY3" fmla="*/ 1311757 h 1311757"/>
              <a:gd name="connsiteX4" fmla="*/ 790462 w 24377650"/>
              <a:gd name="connsiteY4" fmla="*/ 1227959 h 1311757"/>
              <a:gd name="connsiteX5" fmla="*/ 0 w 24377650"/>
              <a:gd name="connsiteY5" fmla="*/ 740229 h 1311757"/>
              <a:gd name="connsiteX6" fmla="*/ 0 w 24377650"/>
              <a:gd name="connsiteY6" fmla="*/ 0 h 131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377650" h="1311757">
                <a:moveTo>
                  <a:pt x="0" y="0"/>
                </a:moveTo>
                <a:lnTo>
                  <a:pt x="24377650" y="0"/>
                </a:lnTo>
                <a:lnTo>
                  <a:pt x="24377650" y="740229"/>
                </a:lnTo>
                <a:lnTo>
                  <a:pt x="1064986" y="1311757"/>
                </a:lnTo>
                <a:cubicBezTo>
                  <a:pt x="939347" y="1311341"/>
                  <a:pt x="897845" y="1292669"/>
                  <a:pt x="790462" y="1227959"/>
                </a:cubicBezTo>
                <a:lnTo>
                  <a:pt x="0" y="740229"/>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900"/>
          </a:p>
        </p:txBody>
      </p:sp>
      <p:sp>
        <p:nvSpPr>
          <p:cNvPr id="15" name="Retângulo 14">
            <a:extLst>
              <a:ext uri="{FF2B5EF4-FFF2-40B4-BE49-F238E27FC236}">
                <a16:creationId xmlns:a16="http://schemas.microsoft.com/office/drawing/2014/main" id="{81DB2D8B-3EA8-28B0-884D-A6A514EF5035}"/>
              </a:ext>
            </a:extLst>
          </p:cNvPr>
          <p:cNvSpPr/>
          <p:nvPr userDrawn="1"/>
        </p:nvSpPr>
        <p:spPr>
          <a:xfrm>
            <a:off x="0" y="-7044"/>
            <a:ext cx="12192000" cy="897179"/>
          </a:xfrm>
          <a:custGeom>
            <a:avLst/>
            <a:gdLst>
              <a:gd name="connsiteX0" fmla="*/ 0 w 24377650"/>
              <a:gd name="connsiteY0" fmla="*/ 0 h 740229"/>
              <a:gd name="connsiteX1" fmla="*/ 24377650 w 24377650"/>
              <a:gd name="connsiteY1" fmla="*/ 0 h 740229"/>
              <a:gd name="connsiteX2" fmla="*/ 24377650 w 24377650"/>
              <a:gd name="connsiteY2" fmla="*/ 740229 h 740229"/>
              <a:gd name="connsiteX3" fmla="*/ 0 w 24377650"/>
              <a:gd name="connsiteY3" fmla="*/ 740229 h 740229"/>
              <a:gd name="connsiteX4" fmla="*/ 0 w 24377650"/>
              <a:gd name="connsiteY4" fmla="*/ 0 h 740229"/>
              <a:gd name="connsiteX0" fmla="*/ 0 w 24377650"/>
              <a:gd name="connsiteY0" fmla="*/ 0 h 740229"/>
              <a:gd name="connsiteX1" fmla="*/ 24377650 w 24377650"/>
              <a:gd name="connsiteY1" fmla="*/ 0 h 740229"/>
              <a:gd name="connsiteX2" fmla="*/ 24377650 w 24377650"/>
              <a:gd name="connsiteY2" fmla="*/ 740229 h 740229"/>
              <a:gd name="connsiteX3" fmla="*/ 4397829 w 24377650"/>
              <a:gd name="connsiteY3" fmla="*/ 710775 h 740229"/>
              <a:gd name="connsiteX4" fmla="*/ 0 w 24377650"/>
              <a:gd name="connsiteY4" fmla="*/ 740229 h 740229"/>
              <a:gd name="connsiteX5" fmla="*/ 0 w 24377650"/>
              <a:gd name="connsiteY5" fmla="*/ 0 h 740229"/>
              <a:gd name="connsiteX0" fmla="*/ 0 w 24377650"/>
              <a:gd name="connsiteY0" fmla="*/ 0 h 1603403"/>
              <a:gd name="connsiteX1" fmla="*/ 24377650 w 24377650"/>
              <a:gd name="connsiteY1" fmla="*/ 0 h 1603403"/>
              <a:gd name="connsiteX2" fmla="*/ 24377650 w 24377650"/>
              <a:gd name="connsiteY2" fmla="*/ 740229 h 1603403"/>
              <a:gd name="connsiteX3" fmla="*/ 1415143 w 24377650"/>
              <a:gd name="connsiteY3" fmla="*/ 1603403 h 1603403"/>
              <a:gd name="connsiteX4" fmla="*/ 0 w 24377650"/>
              <a:gd name="connsiteY4" fmla="*/ 740229 h 1603403"/>
              <a:gd name="connsiteX5" fmla="*/ 0 w 24377650"/>
              <a:gd name="connsiteY5" fmla="*/ 0 h 1603403"/>
              <a:gd name="connsiteX0" fmla="*/ 0 w 24377650"/>
              <a:gd name="connsiteY0" fmla="*/ 0 h 1603403"/>
              <a:gd name="connsiteX1" fmla="*/ 24377650 w 24377650"/>
              <a:gd name="connsiteY1" fmla="*/ 0 h 1603403"/>
              <a:gd name="connsiteX2" fmla="*/ 24377650 w 24377650"/>
              <a:gd name="connsiteY2" fmla="*/ 740229 h 1603403"/>
              <a:gd name="connsiteX3" fmla="*/ 1915886 w 24377650"/>
              <a:gd name="connsiteY3" fmla="*/ 1581632 h 1603403"/>
              <a:gd name="connsiteX4" fmla="*/ 1415143 w 24377650"/>
              <a:gd name="connsiteY4" fmla="*/ 1603403 h 1603403"/>
              <a:gd name="connsiteX5" fmla="*/ 0 w 24377650"/>
              <a:gd name="connsiteY5" fmla="*/ 740229 h 1603403"/>
              <a:gd name="connsiteX6" fmla="*/ 0 w 24377650"/>
              <a:gd name="connsiteY6" fmla="*/ 0 h 1603403"/>
              <a:gd name="connsiteX0" fmla="*/ 0 w 24377650"/>
              <a:gd name="connsiteY0" fmla="*/ 0 h 1746732"/>
              <a:gd name="connsiteX1" fmla="*/ 24377650 w 24377650"/>
              <a:gd name="connsiteY1" fmla="*/ 0 h 1746732"/>
              <a:gd name="connsiteX2" fmla="*/ 24377650 w 24377650"/>
              <a:gd name="connsiteY2" fmla="*/ 740229 h 1746732"/>
              <a:gd name="connsiteX3" fmla="*/ 1687286 w 24377650"/>
              <a:gd name="connsiteY3" fmla="*/ 1746732 h 1746732"/>
              <a:gd name="connsiteX4" fmla="*/ 1415143 w 24377650"/>
              <a:gd name="connsiteY4" fmla="*/ 1603403 h 1746732"/>
              <a:gd name="connsiteX5" fmla="*/ 0 w 24377650"/>
              <a:gd name="connsiteY5" fmla="*/ 740229 h 1746732"/>
              <a:gd name="connsiteX6" fmla="*/ 0 w 24377650"/>
              <a:gd name="connsiteY6" fmla="*/ 0 h 1746732"/>
              <a:gd name="connsiteX0" fmla="*/ 0 w 24377650"/>
              <a:gd name="connsiteY0" fmla="*/ 0 h 1721332"/>
              <a:gd name="connsiteX1" fmla="*/ 24377650 w 24377650"/>
              <a:gd name="connsiteY1" fmla="*/ 0 h 1721332"/>
              <a:gd name="connsiteX2" fmla="*/ 24377650 w 24377650"/>
              <a:gd name="connsiteY2" fmla="*/ 740229 h 1721332"/>
              <a:gd name="connsiteX3" fmla="*/ 1693636 w 24377650"/>
              <a:gd name="connsiteY3" fmla="*/ 1721332 h 1721332"/>
              <a:gd name="connsiteX4" fmla="*/ 1415143 w 24377650"/>
              <a:gd name="connsiteY4" fmla="*/ 1603403 h 1721332"/>
              <a:gd name="connsiteX5" fmla="*/ 0 w 24377650"/>
              <a:gd name="connsiteY5" fmla="*/ 740229 h 1721332"/>
              <a:gd name="connsiteX6" fmla="*/ 0 w 24377650"/>
              <a:gd name="connsiteY6" fmla="*/ 0 h 1721332"/>
              <a:gd name="connsiteX0" fmla="*/ 0 w 24377650"/>
              <a:gd name="connsiteY0" fmla="*/ 0 h 1721332"/>
              <a:gd name="connsiteX1" fmla="*/ 24377650 w 24377650"/>
              <a:gd name="connsiteY1" fmla="*/ 0 h 1721332"/>
              <a:gd name="connsiteX2" fmla="*/ 24377650 w 24377650"/>
              <a:gd name="connsiteY2" fmla="*/ 740229 h 1721332"/>
              <a:gd name="connsiteX3" fmla="*/ 1693636 w 24377650"/>
              <a:gd name="connsiteY3" fmla="*/ 1721332 h 1721332"/>
              <a:gd name="connsiteX4" fmla="*/ 1497693 w 24377650"/>
              <a:gd name="connsiteY4" fmla="*/ 1641503 h 1721332"/>
              <a:gd name="connsiteX5" fmla="*/ 0 w 24377650"/>
              <a:gd name="connsiteY5" fmla="*/ 740229 h 1721332"/>
              <a:gd name="connsiteX6" fmla="*/ 0 w 24377650"/>
              <a:gd name="connsiteY6" fmla="*/ 0 h 1721332"/>
              <a:gd name="connsiteX0" fmla="*/ 0 w 24377650"/>
              <a:gd name="connsiteY0" fmla="*/ 0 h 1721332"/>
              <a:gd name="connsiteX1" fmla="*/ 24377650 w 24377650"/>
              <a:gd name="connsiteY1" fmla="*/ 0 h 1721332"/>
              <a:gd name="connsiteX2" fmla="*/ 24377650 w 24377650"/>
              <a:gd name="connsiteY2" fmla="*/ 740229 h 1721332"/>
              <a:gd name="connsiteX3" fmla="*/ 1693636 w 24377650"/>
              <a:gd name="connsiteY3" fmla="*/ 1721332 h 1721332"/>
              <a:gd name="connsiteX4" fmla="*/ 1511981 w 24377650"/>
              <a:gd name="connsiteY4" fmla="*/ 1620072 h 1721332"/>
              <a:gd name="connsiteX5" fmla="*/ 0 w 24377650"/>
              <a:gd name="connsiteY5" fmla="*/ 740229 h 1721332"/>
              <a:gd name="connsiteX6" fmla="*/ 0 w 24377650"/>
              <a:gd name="connsiteY6" fmla="*/ 0 h 1721332"/>
              <a:gd name="connsiteX0" fmla="*/ 0 w 24377650"/>
              <a:gd name="connsiteY0" fmla="*/ 0 h 1721332"/>
              <a:gd name="connsiteX1" fmla="*/ 24377650 w 24377650"/>
              <a:gd name="connsiteY1" fmla="*/ 0 h 1721332"/>
              <a:gd name="connsiteX2" fmla="*/ 24377650 w 24377650"/>
              <a:gd name="connsiteY2" fmla="*/ 740229 h 1721332"/>
              <a:gd name="connsiteX3" fmla="*/ 1693636 w 24377650"/>
              <a:gd name="connsiteY3" fmla="*/ 1721332 h 1721332"/>
              <a:gd name="connsiteX4" fmla="*/ 1476262 w 24377650"/>
              <a:gd name="connsiteY4" fmla="*/ 1672459 h 1721332"/>
              <a:gd name="connsiteX5" fmla="*/ 0 w 24377650"/>
              <a:gd name="connsiteY5" fmla="*/ 740229 h 1721332"/>
              <a:gd name="connsiteX6" fmla="*/ 0 w 24377650"/>
              <a:gd name="connsiteY6" fmla="*/ 0 h 1721332"/>
              <a:gd name="connsiteX0" fmla="*/ 0 w 24377650"/>
              <a:gd name="connsiteY0" fmla="*/ 0 h 1721332"/>
              <a:gd name="connsiteX1" fmla="*/ 24377650 w 24377650"/>
              <a:gd name="connsiteY1" fmla="*/ 0 h 1721332"/>
              <a:gd name="connsiteX2" fmla="*/ 24377650 w 24377650"/>
              <a:gd name="connsiteY2" fmla="*/ 740229 h 1721332"/>
              <a:gd name="connsiteX3" fmla="*/ 1693636 w 24377650"/>
              <a:gd name="connsiteY3" fmla="*/ 1721332 h 1721332"/>
              <a:gd name="connsiteX4" fmla="*/ 1476262 w 24377650"/>
              <a:gd name="connsiteY4" fmla="*/ 1672459 h 1721332"/>
              <a:gd name="connsiteX5" fmla="*/ 0 w 24377650"/>
              <a:gd name="connsiteY5" fmla="*/ 740229 h 1721332"/>
              <a:gd name="connsiteX6" fmla="*/ 0 w 24377650"/>
              <a:gd name="connsiteY6" fmla="*/ 0 h 1721332"/>
              <a:gd name="connsiteX0" fmla="*/ 0 w 24377650"/>
              <a:gd name="connsiteY0" fmla="*/ 0 h 1721782"/>
              <a:gd name="connsiteX1" fmla="*/ 24377650 w 24377650"/>
              <a:gd name="connsiteY1" fmla="*/ 0 h 1721782"/>
              <a:gd name="connsiteX2" fmla="*/ 24377650 w 24377650"/>
              <a:gd name="connsiteY2" fmla="*/ 740229 h 1721782"/>
              <a:gd name="connsiteX3" fmla="*/ 1693636 w 24377650"/>
              <a:gd name="connsiteY3" fmla="*/ 1721332 h 1721782"/>
              <a:gd name="connsiteX4" fmla="*/ 1476262 w 24377650"/>
              <a:gd name="connsiteY4" fmla="*/ 1672459 h 1721782"/>
              <a:gd name="connsiteX5" fmla="*/ 0 w 24377650"/>
              <a:gd name="connsiteY5" fmla="*/ 740229 h 1721782"/>
              <a:gd name="connsiteX6" fmla="*/ 0 w 24377650"/>
              <a:gd name="connsiteY6" fmla="*/ 0 h 1721782"/>
              <a:gd name="connsiteX0" fmla="*/ 0 w 24377650"/>
              <a:gd name="connsiteY0" fmla="*/ 0 h 1746886"/>
              <a:gd name="connsiteX1" fmla="*/ 24377650 w 24377650"/>
              <a:gd name="connsiteY1" fmla="*/ 0 h 1746886"/>
              <a:gd name="connsiteX2" fmla="*/ 24377650 w 24377650"/>
              <a:gd name="connsiteY2" fmla="*/ 740229 h 1746886"/>
              <a:gd name="connsiteX3" fmla="*/ 1719036 w 24377650"/>
              <a:gd name="connsiteY3" fmla="*/ 1746732 h 1746886"/>
              <a:gd name="connsiteX4" fmla="*/ 1476262 w 24377650"/>
              <a:gd name="connsiteY4" fmla="*/ 1672459 h 1746886"/>
              <a:gd name="connsiteX5" fmla="*/ 0 w 24377650"/>
              <a:gd name="connsiteY5" fmla="*/ 740229 h 1746886"/>
              <a:gd name="connsiteX6" fmla="*/ 0 w 24377650"/>
              <a:gd name="connsiteY6" fmla="*/ 0 h 1746886"/>
              <a:gd name="connsiteX0" fmla="*/ 0 w 24377650"/>
              <a:gd name="connsiteY0" fmla="*/ 0 h 1748015"/>
              <a:gd name="connsiteX1" fmla="*/ 24377650 w 24377650"/>
              <a:gd name="connsiteY1" fmla="*/ 0 h 1748015"/>
              <a:gd name="connsiteX2" fmla="*/ 24377650 w 24377650"/>
              <a:gd name="connsiteY2" fmla="*/ 740229 h 1748015"/>
              <a:gd name="connsiteX3" fmla="*/ 1719036 w 24377650"/>
              <a:gd name="connsiteY3" fmla="*/ 1746732 h 1748015"/>
              <a:gd name="connsiteX4" fmla="*/ 1476262 w 24377650"/>
              <a:gd name="connsiteY4" fmla="*/ 1672459 h 1748015"/>
              <a:gd name="connsiteX5" fmla="*/ 0 w 24377650"/>
              <a:gd name="connsiteY5" fmla="*/ 740229 h 1748015"/>
              <a:gd name="connsiteX6" fmla="*/ 0 w 24377650"/>
              <a:gd name="connsiteY6" fmla="*/ 0 h 1748015"/>
              <a:gd name="connsiteX0" fmla="*/ 0 w 24377650"/>
              <a:gd name="connsiteY0" fmla="*/ 0 h 1795009"/>
              <a:gd name="connsiteX1" fmla="*/ 24377650 w 24377650"/>
              <a:gd name="connsiteY1" fmla="*/ 0 h 1795009"/>
              <a:gd name="connsiteX2" fmla="*/ 24377650 w 24377650"/>
              <a:gd name="connsiteY2" fmla="*/ 740229 h 1795009"/>
              <a:gd name="connsiteX3" fmla="*/ 1757136 w 24377650"/>
              <a:gd name="connsiteY3" fmla="*/ 1794357 h 1795009"/>
              <a:gd name="connsiteX4" fmla="*/ 1476262 w 24377650"/>
              <a:gd name="connsiteY4" fmla="*/ 1672459 h 1795009"/>
              <a:gd name="connsiteX5" fmla="*/ 0 w 24377650"/>
              <a:gd name="connsiteY5" fmla="*/ 740229 h 1795009"/>
              <a:gd name="connsiteX6" fmla="*/ 0 w 24377650"/>
              <a:gd name="connsiteY6" fmla="*/ 0 h 1795009"/>
              <a:gd name="connsiteX0" fmla="*/ 0 w 24377650"/>
              <a:gd name="connsiteY0" fmla="*/ 0 h 1794357"/>
              <a:gd name="connsiteX1" fmla="*/ 24377650 w 24377650"/>
              <a:gd name="connsiteY1" fmla="*/ 0 h 1794357"/>
              <a:gd name="connsiteX2" fmla="*/ 24377650 w 24377650"/>
              <a:gd name="connsiteY2" fmla="*/ 740229 h 1794357"/>
              <a:gd name="connsiteX3" fmla="*/ 1757136 w 24377650"/>
              <a:gd name="connsiteY3" fmla="*/ 1794357 h 1794357"/>
              <a:gd name="connsiteX4" fmla="*/ 1476262 w 24377650"/>
              <a:gd name="connsiteY4" fmla="*/ 1672459 h 1794357"/>
              <a:gd name="connsiteX5" fmla="*/ 0 w 24377650"/>
              <a:gd name="connsiteY5" fmla="*/ 740229 h 1794357"/>
              <a:gd name="connsiteX6" fmla="*/ 0 w 24377650"/>
              <a:gd name="connsiteY6" fmla="*/ 0 h 1794357"/>
              <a:gd name="connsiteX0" fmla="*/ 0 w 24377650"/>
              <a:gd name="connsiteY0" fmla="*/ 0 h 1794357"/>
              <a:gd name="connsiteX1" fmla="*/ 24377650 w 24377650"/>
              <a:gd name="connsiteY1" fmla="*/ 0 h 1794357"/>
              <a:gd name="connsiteX2" fmla="*/ 24377650 w 24377650"/>
              <a:gd name="connsiteY2" fmla="*/ 740229 h 1794357"/>
              <a:gd name="connsiteX3" fmla="*/ 1757136 w 24377650"/>
              <a:gd name="connsiteY3" fmla="*/ 1794357 h 1794357"/>
              <a:gd name="connsiteX4" fmla="*/ 1488962 w 24377650"/>
              <a:gd name="connsiteY4" fmla="*/ 1726434 h 1794357"/>
              <a:gd name="connsiteX5" fmla="*/ 0 w 24377650"/>
              <a:gd name="connsiteY5" fmla="*/ 740229 h 1794357"/>
              <a:gd name="connsiteX6" fmla="*/ 0 w 24377650"/>
              <a:gd name="connsiteY6" fmla="*/ 0 h 1794357"/>
              <a:gd name="connsiteX0" fmla="*/ 0 w 24377650"/>
              <a:gd name="connsiteY0" fmla="*/ 0 h 1794357"/>
              <a:gd name="connsiteX1" fmla="*/ 24377650 w 24377650"/>
              <a:gd name="connsiteY1" fmla="*/ 0 h 1794357"/>
              <a:gd name="connsiteX2" fmla="*/ 24377650 w 24377650"/>
              <a:gd name="connsiteY2" fmla="*/ 740229 h 1794357"/>
              <a:gd name="connsiteX3" fmla="*/ 1757136 w 24377650"/>
              <a:gd name="connsiteY3" fmla="*/ 1794357 h 1794357"/>
              <a:gd name="connsiteX4" fmla="*/ 1488962 w 24377650"/>
              <a:gd name="connsiteY4" fmla="*/ 1726434 h 1794357"/>
              <a:gd name="connsiteX5" fmla="*/ 0 w 24377650"/>
              <a:gd name="connsiteY5" fmla="*/ 740229 h 1794357"/>
              <a:gd name="connsiteX6" fmla="*/ 0 w 24377650"/>
              <a:gd name="connsiteY6" fmla="*/ 0 h 1794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377650" h="1794357">
                <a:moveTo>
                  <a:pt x="0" y="0"/>
                </a:moveTo>
                <a:lnTo>
                  <a:pt x="24377650" y="0"/>
                </a:lnTo>
                <a:lnTo>
                  <a:pt x="24377650" y="740229"/>
                </a:lnTo>
                <a:lnTo>
                  <a:pt x="1757136" y="1794357"/>
                </a:lnTo>
                <a:cubicBezTo>
                  <a:pt x="1631497" y="1793941"/>
                  <a:pt x="1583645" y="1778444"/>
                  <a:pt x="1488962" y="1726434"/>
                </a:cubicBezTo>
                <a:lnTo>
                  <a:pt x="0" y="740229"/>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900"/>
          </a:p>
        </p:txBody>
      </p:sp>
      <p:sp>
        <p:nvSpPr>
          <p:cNvPr id="18" name="Retângulo 17">
            <a:extLst>
              <a:ext uri="{FF2B5EF4-FFF2-40B4-BE49-F238E27FC236}">
                <a16:creationId xmlns:a16="http://schemas.microsoft.com/office/drawing/2014/main" id="{518E303A-0E5E-5F79-078F-B0E8F38E6FC2}"/>
              </a:ext>
            </a:extLst>
          </p:cNvPr>
          <p:cNvSpPr/>
          <p:nvPr userDrawn="1"/>
        </p:nvSpPr>
        <p:spPr>
          <a:xfrm>
            <a:off x="9102829" y="-7044"/>
            <a:ext cx="3089172" cy="739371"/>
          </a:xfrm>
          <a:custGeom>
            <a:avLst/>
            <a:gdLst>
              <a:gd name="connsiteX0" fmla="*/ 0 w 6176735"/>
              <a:gd name="connsiteY0" fmla="*/ 0 h 914400"/>
              <a:gd name="connsiteX1" fmla="*/ 6176735 w 6176735"/>
              <a:gd name="connsiteY1" fmla="*/ 0 h 914400"/>
              <a:gd name="connsiteX2" fmla="*/ 6176735 w 6176735"/>
              <a:gd name="connsiteY2" fmla="*/ 914400 h 914400"/>
              <a:gd name="connsiteX3" fmla="*/ 0 w 6176735"/>
              <a:gd name="connsiteY3" fmla="*/ 914400 h 914400"/>
              <a:gd name="connsiteX4" fmla="*/ 0 w 6176735"/>
              <a:gd name="connsiteY4" fmla="*/ 0 h 914400"/>
              <a:gd name="connsiteX0" fmla="*/ 0 w 6176735"/>
              <a:gd name="connsiteY0" fmla="*/ 0 h 1545771"/>
              <a:gd name="connsiteX1" fmla="*/ 6176735 w 6176735"/>
              <a:gd name="connsiteY1" fmla="*/ 0 h 1545771"/>
              <a:gd name="connsiteX2" fmla="*/ 6176735 w 6176735"/>
              <a:gd name="connsiteY2" fmla="*/ 914400 h 1545771"/>
              <a:gd name="connsiteX3" fmla="*/ 1567543 w 6176735"/>
              <a:gd name="connsiteY3" fmla="*/ 1545771 h 1545771"/>
              <a:gd name="connsiteX4" fmla="*/ 0 w 6176735"/>
              <a:gd name="connsiteY4" fmla="*/ 0 h 1545771"/>
              <a:gd name="connsiteX0" fmla="*/ 0 w 6176735"/>
              <a:gd name="connsiteY0" fmla="*/ 0 h 1545771"/>
              <a:gd name="connsiteX1" fmla="*/ 6176735 w 6176735"/>
              <a:gd name="connsiteY1" fmla="*/ 0 h 1545771"/>
              <a:gd name="connsiteX2" fmla="*/ 5610678 w 6176735"/>
              <a:gd name="connsiteY2" fmla="*/ 849085 h 1545771"/>
              <a:gd name="connsiteX3" fmla="*/ 1567543 w 6176735"/>
              <a:gd name="connsiteY3" fmla="*/ 1545771 h 1545771"/>
              <a:gd name="connsiteX4" fmla="*/ 0 w 6176735"/>
              <a:gd name="connsiteY4" fmla="*/ 0 h 1545771"/>
              <a:gd name="connsiteX0" fmla="*/ 0 w 6176735"/>
              <a:gd name="connsiteY0" fmla="*/ 0 h 1371600"/>
              <a:gd name="connsiteX1" fmla="*/ 6176735 w 6176735"/>
              <a:gd name="connsiteY1" fmla="*/ 0 h 1371600"/>
              <a:gd name="connsiteX2" fmla="*/ 5610678 w 6176735"/>
              <a:gd name="connsiteY2" fmla="*/ 849085 h 1371600"/>
              <a:gd name="connsiteX3" fmla="*/ 1524000 w 6176735"/>
              <a:gd name="connsiteY3" fmla="*/ 1371600 h 1371600"/>
              <a:gd name="connsiteX4" fmla="*/ 0 w 6176735"/>
              <a:gd name="connsiteY4" fmla="*/ 0 h 1371600"/>
              <a:gd name="connsiteX0" fmla="*/ 0 w 6176735"/>
              <a:gd name="connsiteY0" fmla="*/ 0 h 1371600"/>
              <a:gd name="connsiteX1" fmla="*/ 6176735 w 6176735"/>
              <a:gd name="connsiteY1" fmla="*/ 0 h 1371600"/>
              <a:gd name="connsiteX2" fmla="*/ 5610678 w 6176735"/>
              <a:gd name="connsiteY2" fmla="*/ 849085 h 1371600"/>
              <a:gd name="connsiteX3" fmla="*/ 1872343 w 6176735"/>
              <a:gd name="connsiteY3" fmla="*/ 1320374 h 1371600"/>
              <a:gd name="connsiteX4" fmla="*/ 1524000 w 6176735"/>
              <a:gd name="connsiteY4" fmla="*/ 1371600 h 1371600"/>
              <a:gd name="connsiteX5" fmla="*/ 0 w 6176735"/>
              <a:gd name="connsiteY5" fmla="*/ 0 h 1371600"/>
              <a:gd name="connsiteX0" fmla="*/ 0 w 6176735"/>
              <a:gd name="connsiteY0" fmla="*/ 0 h 1472774"/>
              <a:gd name="connsiteX1" fmla="*/ 6176735 w 6176735"/>
              <a:gd name="connsiteY1" fmla="*/ 0 h 1472774"/>
              <a:gd name="connsiteX2" fmla="*/ 5610678 w 6176735"/>
              <a:gd name="connsiteY2" fmla="*/ 849085 h 1472774"/>
              <a:gd name="connsiteX3" fmla="*/ 1872343 w 6176735"/>
              <a:gd name="connsiteY3" fmla="*/ 1472774 h 1472774"/>
              <a:gd name="connsiteX4" fmla="*/ 1524000 w 6176735"/>
              <a:gd name="connsiteY4" fmla="*/ 1371600 h 1472774"/>
              <a:gd name="connsiteX5" fmla="*/ 0 w 6176735"/>
              <a:gd name="connsiteY5" fmla="*/ 0 h 1472774"/>
              <a:gd name="connsiteX0" fmla="*/ 0 w 6176735"/>
              <a:gd name="connsiteY0" fmla="*/ 0 h 1472774"/>
              <a:gd name="connsiteX1" fmla="*/ 6176735 w 6176735"/>
              <a:gd name="connsiteY1" fmla="*/ 0 h 1472774"/>
              <a:gd name="connsiteX2" fmla="*/ 5610678 w 6176735"/>
              <a:gd name="connsiteY2" fmla="*/ 849085 h 1472774"/>
              <a:gd name="connsiteX3" fmla="*/ 1872343 w 6176735"/>
              <a:gd name="connsiteY3" fmla="*/ 1472774 h 1472774"/>
              <a:gd name="connsiteX4" fmla="*/ 1524000 w 6176735"/>
              <a:gd name="connsiteY4" fmla="*/ 1371600 h 1472774"/>
              <a:gd name="connsiteX5" fmla="*/ 0 w 6176735"/>
              <a:gd name="connsiteY5" fmla="*/ 0 h 1472774"/>
              <a:gd name="connsiteX0" fmla="*/ 0 w 6176735"/>
              <a:gd name="connsiteY0" fmla="*/ 0 h 1480467"/>
              <a:gd name="connsiteX1" fmla="*/ 6176735 w 6176735"/>
              <a:gd name="connsiteY1" fmla="*/ 0 h 1480467"/>
              <a:gd name="connsiteX2" fmla="*/ 5610678 w 6176735"/>
              <a:gd name="connsiteY2" fmla="*/ 849085 h 1480467"/>
              <a:gd name="connsiteX3" fmla="*/ 1872343 w 6176735"/>
              <a:gd name="connsiteY3" fmla="*/ 1472774 h 1480467"/>
              <a:gd name="connsiteX4" fmla="*/ 1524000 w 6176735"/>
              <a:gd name="connsiteY4" fmla="*/ 1371600 h 1480467"/>
              <a:gd name="connsiteX5" fmla="*/ 0 w 6176735"/>
              <a:gd name="connsiteY5" fmla="*/ 0 h 1480467"/>
              <a:gd name="connsiteX0" fmla="*/ 0 w 6176735"/>
              <a:gd name="connsiteY0" fmla="*/ 0 h 1478739"/>
              <a:gd name="connsiteX1" fmla="*/ 6176735 w 6176735"/>
              <a:gd name="connsiteY1" fmla="*/ 0 h 1478739"/>
              <a:gd name="connsiteX2" fmla="*/ 5610678 w 6176735"/>
              <a:gd name="connsiteY2" fmla="*/ 849085 h 1478739"/>
              <a:gd name="connsiteX3" fmla="*/ 1872343 w 6176735"/>
              <a:gd name="connsiteY3" fmla="*/ 1472774 h 1478739"/>
              <a:gd name="connsiteX4" fmla="*/ 1524000 w 6176735"/>
              <a:gd name="connsiteY4" fmla="*/ 1371600 h 1478739"/>
              <a:gd name="connsiteX5" fmla="*/ 0 w 6176735"/>
              <a:gd name="connsiteY5" fmla="*/ 0 h 1478739"/>
              <a:gd name="connsiteX0" fmla="*/ 0 w 6176735"/>
              <a:gd name="connsiteY0" fmla="*/ 0 h 1478739"/>
              <a:gd name="connsiteX1" fmla="*/ 6176735 w 6176735"/>
              <a:gd name="connsiteY1" fmla="*/ 0 h 1478739"/>
              <a:gd name="connsiteX2" fmla="*/ 5610678 w 6176735"/>
              <a:gd name="connsiteY2" fmla="*/ 849085 h 1478739"/>
              <a:gd name="connsiteX3" fmla="*/ 5478236 w 6176735"/>
              <a:gd name="connsiteY3" fmla="*/ 876101 h 1478739"/>
              <a:gd name="connsiteX4" fmla="*/ 1872343 w 6176735"/>
              <a:gd name="connsiteY4" fmla="*/ 1472774 h 1478739"/>
              <a:gd name="connsiteX5" fmla="*/ 1524000 w 6176735"/>
              <a:gd name="connsiteY5" fmla="*/ 1371600 h 1478739"/>
              <a:gd name="connsiteX6" fmla="*/ 0 w 6176735"/>
              <a:gd name="connsiteY6" fmla="*/ 0 h 1478739"/>
              <a:gd name="connsiteX0" fmla="*/ 0 w 6176735"/>
              <a:gd name="connsiteY0" fmla="*/ 0 h 1478739"/>
              <a:gd name="connsiteX1" fmla="*/ 6176735 w 6176735"/>
              <a:gd name="connsiteY1" fmla="*/ 0 h 1478739"/>
              <a:gd name="connsiteX2" fmla="*/ 5610678 w 6176735"/>
              <a:gd name="connsiteY2" fmla="*/ 849085 h 1478739"/>
              <a:gd name="connsiteX3" fmla="*/ 5492523 w 6176735"/>
              <a:gd name="connsiteY3" fmla="*/ 923726 h 1478739"/>
              <a:gd name="connsiteX4" fmla="*/ 1872343 w 6176735"/>
              <a:gd name="connsiteY4" fmla="*/ 1472774 h 1478739"/>
              <a:gd name="connsiteX5" fmla="*/ 1524000 w 6176735"/>
              <a:gd name="connsiteY5" fmla="*/ 1371600 h 1478739"/>
              <a:gd name="connsiteX6" fmla="*/ 0 w 6176735"/>
              <a:gd name="connsiteY6" fmla="*/ 0 h 1478739"/>
              <a:gd name="connsiteX0" fmla="*/ 0 w 6176735"/>
              <a:gd name="connsiteY0" fmla="*/ 0 h 1478739"/>
              <a:gd name="connsiteX1" fmla="*/ 6176735 w 6176735"/>
              <a:gd name="connsiteY1" fmla="*/ 0 h 1478739"/>
              <a:gd name="connsiteX2" fmla="*/ 5610678 w 6176735"/>
              <a:gd name="connsiteY2" fmla="*/ 849085 h 1478739"/>
              <a:gd name="connsiteX3" fmla="*/ 5492523 w 6176735"/>
              <a:gd name="connsiteY3" fmla="*/ 923726 h 1478739"/>
              <a:gd name="connsiteX4" fmla="*/ 1872343 w 6176735"/>
              <a:gd name="connsiteY4" fmla="*/ 1472774 h 1478739"/>
              <a:gd name="connsiteX5" fmla="*/ 1524000 w 6176735"/>
              <a:gd name="connsiteY5" fmla="*/ 1371600 h 1478739"/>
              <a:gd name="connsiteX6" fmla="*/ 0 w 6176735"/>
              <a:gd name="connsiteY6" fmla="*/ 0 h 1478739"/>
              <a:gd name="connsiteX0" fmla="*/ 0 w 6176735"/>
              <a:gd name="connsiteY0" fmla="*/ 0 h 1478739"/>
              <a:gd name="connsiteX1" fmla="*/ 6176735 w 6176735"/>
              <a:gd name="connsiteY1" fmla="*/ 0 h 1478739"/>
              <a:gd name="connsiteX2" fmla="*/ 5610678 w 6176735"/>
              <a:gd name="connsiteY2" fmla="*/ 849085 h 1478739"/>
              <a:gd name="connsiteX3" fmla="*/ 5492523 w 6176735"/>
              <a:gd name="connsiteY3" fmla="*/ 923726 h 1478739"/>
              <a:gd name="connsiteX4" fmla="*/ 1872343 w 6176735"/>
              <a:gd name="connsiteY4" fmla="*/ 1472774 h 1478739"/>
              <a:gd name="connsiteX5" fmla="*/ 1524000 w 6176735"/>
              <a:gd name="connsiteY5" fmla="*/ 1371600 h 1478739"/>
              <a:gd name="connsiteX6" fmla="*/ 0 w 6176735"/>
              <a:gd name="connsiteY6" fmla="*/ 0 h 1478739"/>
              <a:gd name="connsiteX0" fmla="*/ 0 w 6176735"/>
              <a:gd name="connsiteY0" fmla="*/ 0 h 1478739"/>
              <a:gd name="connsiteX1" fmla="*/ 6176735 w 6176735"/>
              <a:gd name="connsiteY1" fmla="*/ 0 h 1478739"/>
              <a:gd name="connsiteX2" fmla="*/ 5610678 w 6176735"/>
              <a:gd name="connsiteY2" fmla="*/ 849085 h 1478739"/>
              <a:gd name="connsiteX3" fmla="*/ 5492523 w 6176735"/>
              <a:gd name="connsiteY3" fmla="*/ 923726 h 1478739"/>
              <a:gd name="connsiteX4" fmla="*/ 1872343 w 6176735"/>
              <a:gd name="connsiteY4" fmla="*/ 1472774 h 1478739"/>
              <a:gd name="connsiteX5" fmla="*/ 1524000 w 6176735"/>
              <a:gd name="connsiteY5" fmla="*/ 1371600 h 1478739"/>
              <a:gd name="connsiteX6" fmla="*/ 0 w 6176735"/>
              <a:gd name="connsiteY6" fmla="*/ 0 h 1478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76735" h="1478739">
                <a:moveTo>
                  <a:pt x="0" y="0"/>
                </a:moveTo>
                <a:lnTo>
                  <a:pt x="6176735" y="0"/>
                </a:lnTo>
                <a:lnTo>
                  <a:pt x="5610678" y="849085"/>
                </a:lnTo>
                <a:cubicBezTo>
                  <a:pt x="5561768" y="902540"/>
                  <a:pt x="5570008" y="903608"/>
                  <a:pt x="5492523" y="923726"/>
                </a:cubicBezTo>
                <a:lnTo>
                  <a:pt x="1872343" y="1472774"/>
                </a:lnTo>
                <a:cubicBezTo>
                  <a:pt x="1718130" y="1496199"/>
                  <a:pt x="1611539" y="1448187"/>
                  <a:pt x="1524000" y="1371600"/>
                </a:cubicBezTo>
                <a:lnTo>
                  <a:pt x="0" y="0"/>
                </a:lnTo>
                <a:close/>
              </a:path>
            </a:pathLst>
          </a:custGeom>
          <a:solidFill>
            <a:schemeClr val="bg1"/>
          </a:solidFill>
          <a:ln>
            <a:noFill/>
          </a:ln>
          <a:effectLst>
            <a:outerShdw blurRad="50800" dist="38100" dir="8100000" sx="102000" sy="102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900"/>
          </a:p>
        </p:txBody>
      </p:sp>
      <p:pic>
        <p:nvPicPr>
          <p:cNvPr id="21" name="Imagem 20">
            <a:extLst>
              <a:ext uri="{FF2B5EF4-FFF2-40B4-BE49-F238E27FC236}">
                <a16:creationId xmlns:a16="http://schemas.microsoft.com/office/drawing/2014/main" id="{41C5652C-D864-D117-473A-B77D52A7FE7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86821" y="108591"/>
            <a:ext cx="1721184" cy="350867"/>
          </a:xfrm>
          <a:prstGeom prst="rect">
            <a:avLst/>
          </a:prstGeom>
        </p:spPr>
      </p:pic>
      <p:sp>
        <p:nvSpPr>
          <p:cNvPr id="23" name="Retângulo 22">
            <a:extLst>
              <a:ext uri="{FF2B5EF4-FFF2-40B4-BE49-F238E27FC236}">
                <a16:creationId xmlns:a16="http://schemas.microsoft.com/office/drawing/2014/main" id="{A095AA53-6030-F966-318B-5F20953AE564}"/>
              </a:ext>
            </a:extLst>
          </p:cNvPr>
          <p:cNvSpPr/>
          <p:nvPr userDrawn="1"/>
        </p:nvSpPr>
        <p:spPr>
          <a:xfrm>
            <a:off x="3825746" y="6569"/>
            <a:ext cx="457319" cy="739371"/>
          </a:xfrm>
          <a:custGeom>
            <a:avLst/>
            <a:gdLst>
              <a:gd name="connsiteX0" fmla="*/ 0 w 914400"/>
              <a:gd name="connsiteY0" fmla="*/ 0 h 1478739"/>
              <a:gd name="connsiteX1" fmla="*/ 914400 w 914400"/>
              <a:gd name="connsiteY1" fmla="*/ 0 h 1478739"/>
              <a:gd name="connsiteX2" fmla="*/ 914400 w 914400"/>
              <a:gd name="connsiteY2" fmla="*/ 1478739 h 1478739"/>
              <a:gd name="connsiteX3" fmla="*/ 0 w 914400"/>
              <a:gd name="connsiteY3" fmla="*/ 1478739 h 1478739"/>
              <a:gd name="connsiteX4" fmla="*/ 0 w 914400"/>
              <a:gd name="connsiteY4" fmla="*/ 0 h 1478739"/>
              <a:gd name="connsiteX0" fmla="*/ 0 w 914400"/>
              <a:gd name="connsiteY0" fmla="*/ 0 h 1478739"/>
              <a:gd name="connsiteX1" fmla="*/ 914400 w 914400"/>
              <a:gd name="connsiteY1" fmla="*/ 0 h 1478739"/>
              <a:gd name="connsiteX2" fmla="*/ 908050 w 914400"/>
              <a:gd name="connsiteY2" fmla="*/ 1434289 h 1478739"/>
              <a:gd name="connsiteX3" fmla="*/ 0 w 914400"/>
              <a:gd name="connsiteY3" fmla="*/ 1478739 h 1478739"/>
              <a:gd name="connsiteX4" fmla="*/ 0 w 914400"/>
              <a:gd name="connsiteY4" fmla="*/ 0 h 1478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1478739">
                <a:moveTo>
                  <a:pt x="0" y="0"/>
                </a:moveTo>
                <a:lnTo>
                  <a:pt x="914400" y="0"/>
                </a:lnTo>
                <a:cubicBezTo>
                  <a:pt x="912283" y="478096"/>
                  <a:pt x="910167" y="956193"/>
                  <a:pt x="908050" y="1434289"/>
                </a:cubicBezTo>
                <a:lnTo>
                  <a:pt x="0" y="1478739"/>
                </a:lnTo>
                <a:lnTo>
                  <a:pt x="0" y="0"/>
                </a:lnTo>
                <a:close/>
              </a:path>
            </a:pathLst>
          </a:custGeom>
          <a:gradFill flip="none" rotWithShape="1">
            <a:gsLst>
              <a:gs pos="0">
                <a:schemeClr val="accent1">
                  <a:alpha val="0"/>
                </a:schemeClr>
              </a:gs>
              <a:gs pos="56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900"/>
          </a:p>
        </p:txBody>
      </p:sp>
    </p:spTree>
    <p:extLst>
      <p:ext uri="{BB962C8B-B14F-4D97-AF65-F5344CB8AC3E}">
        <p14:creationId xmlns:p14="http://schemas.microsoft.com/office/powerpoint/2010/main" val="364325920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Corpo da apresentação">
    <p:spTree>
      <p:nvGrpSpPr>
        <p:cNvPr id="1" name=""/>
        <p:cNvGrpSpPr/>
        <p:nvPr/>
      </p:nvGrpSpPr>
      <p:grpSpPr>
        <a:xfrm>
          <a:off x="0" y="0"/>
          <a:ext cx="0" cy="0"/>
          <a:chOff x="0" y="0"/>
          <a:chExt cx="0" cy="0"/>
        </a:xfrm>
      </p:grpSpPr>
      <p:pic>
        <p:nvPicPr>
          <p:cNvPr id="3" name="Imagem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08" y="0"/>
            <a:ext cx="12189293" cy="6858000"/>
          </a:xfrm>
          <a:prstGeom prst="rect">
            <a:avLst/>
          </a:prstGeom>
        </p:spPr>
      </p:pic>
      <p:sp>
        <p:nvSpPr>
          <p:cNvPr id="2" name="Elipse 1">
            <a:extLst>
              <a:ext uri="{FF2B5EF4-FFF2-40B4-BE49-F238E27FC236}">
                <a16:creationId xmlns:a16="http://schemas.microsoft.com/office/drawing/2014/main" id="{E0BA6537-C1D0-B0CD-BA4F-17256C0612BD}"/>
              </a:ext>
            </a:extLst>
          </p:cNvPr>
          <p:cNvSpPr/>
          <p:nvPr userDrawn="1"/>
        </p:nvSpPr>
        <p:spPr>
          <a:xfrm>
            <a:off x="11294400" y="6025856"/>
            <a:ext cx="645787" cy="645619"/>
          </a:xfrm>
          <a:prstGeom prst="ellipse">
            <a:avLst/>
          </a:prstGeom>
          <a:solidFill>
            <a:srgbClr val="FDC8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800" b="1">
                <a:solidFill>
                  <a:srgbClr val="00619D"/>
                </a:solidFill>
              </a:rPr>
              <a:t>C</a:t>
            </a:r>
          </a:p>
        </p:txBody>
      </p:sp>
      <p:sp>
        <p:nvSpPr>
          <p:cNvPr id="23" name="Retângulo 22">
            <a:extLst>
              <a:ext uri="{FF2B5EF4-FFF2-40B4-BE49-F238E27FC236}">
                <a16:creationId xmlns:a16="http://schemas.microsoft.com/office/drawing/2014/main" id="{EA069E6D-1076-CFBE-837D-907BD3A39932}"/>
              </a:ext>
            </a:extLst>
          </p:cNvPr>
          <p:cNvSpPr/>
          <p:nvPr userDrawn="1"/>
        </p:nvSpPr>
        <p:spPr>
          <a:xfrm>
            <a:off x="2" y="4881717"/>
            <a:ext cx="3767439" cy="2012571"/>
          </a:xfrm>
          <a:custGeom>
            <a:avLst/>
            <a:gdLst>
              <a:gd name="connsiteX0" fmla="*/ 0 w 7141029"/>
              <a:gd name="connsiteY0" fmla="*/ 0 h 3952568"/>
              <a:gd name="connsiteX1" fmla="*/ 7141029 w 7141029"/>
              <a:gd name="connsiteY1" fmla="*/ 0 h 3952568"/>
              <a:gd name="connsiteX2" fmla="*/ 7141029 w 7141029"/>
              <a:gd name="connsiteY2" fmla="*/ 3952568 h 3952568"/>
              <a:gd name="connsiteX3" fmla="*/ 0 w 7141029"/>
              <a:gd name="connsiteY3" fmla="*/ 3952568 h 3952568"/>
              <a:gd name="connsiteX4" fmla="*/ 0 w 7141029"/>
              <a:gd name="connsiteY4" fmla="*/ 0 h 3952568"/>
              <a:gd name="connsiteX0" fmla="*/ 0 w 7141030"/>
              <a:gd name="connsiteY0" fmla="*/ 0 h 3952568"/>
              <a:gd name="connsiteX1" fmla="*/ 7141029 w 7141030"/>
              <a:gd name="connsiteY1" fmla="*/ 0 h 3952568"/>
              <a:gd name="connsiteX2" fmla="*/ 7141030 w 7141030"/>
              <a:gd name="connsiteY2" fmla="*/ 1891538 h 3952568"/>
              <a:gd name="connsiteX3" fmla="*/ 7141029 w 7141030"/>
              <a:gd name="connsiteY3" fmla="*/ 3952568 h 3952568"/>
              <a:gd name="connsiteX4" fmla="*/ 0 w 7141030"/>
              <a:gd name="connsiteY4" fmla="*/ 3952568 h 3952568"/>
              <a:gd name="connsiteX5" fmla="*/ 0 w 7141030"/>
              <a:gd name="connsiteY5" fmla="*/ 0 h 3952568"/>
              <a:gd name="connsiteX0" fmla="*/ 0 w 7532915"/>
              <a:gd name="connsiteY0" fmla="*/ 0 h 4025140"/>
              <a:gd name="connsiteX1" fmla="*/ 7141029 w 7532915"/>
              <a:gd name="connsiteY1" fmla="*/ 0 h 4025140"/>
              <a:gd name="connsiteX2" fmla="*/ 7141030 w 7532915"/>
              <a:gd name="connsiteY2" fmla="*/ 1891538 h 4025140"/>
              <a:gd name="connsiteX3" fmla="*/ 7532915 w 7532915"/>
              <a:gd name="connsiteY3" fmla="*/ 4025140 h 4025140"/>
              <a:gd name="connsiteX4" fmla="*/ 0 w 7532915"/>
              <a:gd name="connsiteY4" fmla="*/ 3952568 h 4025140"/>
              <a:gd name="connsiteX5" fmla="*/ 0 w 7532915"/>
              <a:gd name="connsiteY5" fmla="*/ 0 h 4025140"/>
              <a:gd name="connsiteX0" fmla="*/ 0 w 7532915"/>
              <a:gd name="connsiteY0" fmla="*/ 0 h 4025140"/>
              <a:gd name="connsiteX1" fmla="*/ 7141029 w 7532915"/>
              <a:gd name="connsiteY1" fmla="*/ 0 h 4025140"/>
              <a:gd name="connsiteX2" fmla="*/ 7213602 w 7532915"/>
              <a:gd name="connsiteY2" fmla="*/ 1891538 h 4025140"/>
              <a:gd name="connsiteX3" fmla="*/ 7532915 w 7532915"/>
              <a:gd name="connsiteY3" fmla="*/ 4025140 h 4025140"/>
              <a:gd name="connsiteX4" fmla="*/ 0 w 7532915"/>
              <a:gd name="connsiteY4" fmla="*/ 3952568 h 4025140"/>
              <a:gd name="connsiteX5" fmla="*/ 0 w 7532915"/>
              <a:gd name="connsiteY5" fmla="*/ 0 h 4025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2915" h="4025140">
                <a:moveTo>
                  <a:pt x="0" y="0"/>
                </a:moveTo>
                <a:lnTo>
                  <a:pt x="7141029" y="0"/>
                </a:lnTo>
                <a:cubicBezTo>
                  <a:pt x="7141029" y="630513"/>
                  <a:pt x="7213602" y="1261025"/>
                  <a:pt x="7213602" y="1891538"/>
                </a:cubicBezTo>
                <a:cubicBezTo>
                  <a:pt x="7213602" y="2578548"/>
                  <a:pt x="7532915" y="3338130"/>
                  <a:pt x="7532915" y="4025140"/>
                </a:cubicBezTo>
                <a:lnTo>
                  <a:pt x="0" y="3952568"/>
                </a:lnTo>
                <a:lnTo>
                  <a:pt x="0" y="0"/>
                </a:lnTo>
                <a:close/>
              </a:path>
            </a:pathLst>
          </a:custGeom>
          <a:solidFill>
            <a:srgbClr val="9FBC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900"/>
          </a:p>
        </p:txBody>
      </p:sp>
      <p:sp>
        <p:nvSpPr>
          <p:cNvPr id="21" name="Forma Livre: Forma 20">
            <a:extLst>
              <a:ext uri="{FF2B5EF4-FFF2-40B4-BE49-F238E27FC236}">
                <a16:creationId xmlns:a16="http://schemas.microsoft.com/office/drawing/2014/main" id="{D522E29E-39FF-681E-50A5-0B4F52B6091D}"/>
              </a:ext>
            </a:extLst>
          </p:cNvPr>
          <p:cNvSpPr/>
          <p:nvPr userDrawn="1"/>
        </p:nvSpPr>
        <p:spPr>
          <a:xfrm>
            <a:off x="-5241" y="684532"/>
            <a:ext cx="3873399" cy="5243605"/>
          </a:xfrm>
          <a:custGeom>
            <a:avLst/>
            <a:gdLst>
              <a:gd name="connsiteX0" fmla="*/ 7200900 w 7734300"/>
              <a:gd name="connsiteY0" fmla="*/ 10248900 h 10248900"/>
              <a:gd name="connsiteX1" fmla="*/ 6553200 w 7734300"/>
              <a:gd name="connsiteY1" fmla="*/ 10020300 h 10248900"/>
              <a:gd name="connsiteX2" fmla="*/ 5067300 w 7734300"/>
              <a:gd name="connsiteY2" fmla="*/ 9505950 h 10248900"/>
              <a:gd name="connsiteX3" fmla="*/ 0 w 7734300"/>
              <a:gd name="connsiteY3" fmla="*/ 8648700 h 10248900"/>
              <a:gd name="connsiteX4" fmla="*/ 0 w 7734300"/>
              <a:gd name="connsiteY4" fmla="*/ 0 h 10248900"/>
              <a:gd name="connsiteX5" fmla="*/ 6343650 w 7734300"/>
              <a:gd name="connsiteY5" fmla="*/ 2343150 h 10248900"/>
              <a:gd name="connsiteX6" fmla="*/ 6400800 w 7734300"/>
              <a:gd name="connsiteY6" fmla="*/ 3467100 h 10248900"/>
              <a:gd name="connsiteX7" fmla="*/ 7734300 w 7734300"/>
              <a:gd name="connsiteY7" fmla="*/ 4438650 h 10248900"/>
              <a:gd name="connsiteX8" fmla="*/ 7600950 w 7734300"/>
              <a:gd name="connsiteY8" fmla="*/ 6838950 h 10248900"/>
              <a:gd name="connsiteX9" fmla="*/ 7143750 w 7734300"/>
              <a:gd name="connsiteY9" fmla="*/ 7372350 h 10248900"/>
              <a:gd name="connsiteX10" fmla="*/ 7200900 w 7734300"/>
              <a:gd name="connsiteY10" fmla="*/ 10248900 h 10248900"/>
              <a:gd name="connsiteX0" fmla="*/ 7200900 w 7734300"/>
              <a:gd name="connsiteY0" fmla="*/ 10248900 h 10347853"/>
              <a:gd name="connsiteX1" fmla="*/ 6553200 w 7734300"/>
              <a:gd name="connsiteY1" fmla="*/ 10020300 h 10347853"/>
              <a:gd name="connsiteX2" fmla="*/ 5067300 w 7734300"/>
              <a:gd name="connsiteY2" fmla="*/ 9505950 h 10347853"/>
              <a:gd name="connsiteX3" fmla="*/ 0 w 7734300"/>
              <a:gd name="connsiteY3" fmla="*/ 8648700 h 10347853"/>
              <a:gd name="connsiteX4" fmla="*/ 0 w 7734300"/>
              <a:gd name="connsiteY4" fmla="*/ 0 h 10347853"/>
              <a:gd name="connsiteX5" fmla="*/ 6343650 w 7734300"/>
              <a:gd name="connsiteY5" fmla="*/ 2343150 h 10347853"/>
              <a:gd name="connsiteX6" fmla="*/ 6400800 w 7734300"/>
              <a:gd name="connsiteY6" fmla="*/ 3467100 h 10347853"/>
              <a:gd name="connsiteX7" fmla="*/ 7734300 w 7734300"/>
              <a:gd name="connsiteY7" fmla="*/ 4438650 h 10347853"/>
              <a:gd name="connsiteX8" fmla="*/ 7600950 w 7734300"/>
              <a:gd name="connsiteY8" fmla="*/ 6838950 h 10347853"/>
              <a:gd name="connsiteX9" fmla="*/ 7143750 w 7734300"/>
              <a:gd name="connsiteY9" fmla="*/ 7372350 h 10347853"/>
              <a:gd name="connsiteX10" fmla="*/ 7200900 w 7734300"/>
              <a:gd name="connsiteY10" fmla="*/ 10248900 h 10347853"/>
              <a:gd name="connsiteX0" fmla="*/ 7239000 w 7734300"/>
              <a:gd name="connsiteY0" fmla="*/ 10274300 h 10357535"/>
              <a:gd name="connsiteX1" fmla="*/ 6553200 w 7734300"/>
              <a:gd name="connsiteY1" fmla="*/ 10020300 h 10357535"/>
              <a:gd name="connsiteX2" fmla="*/ 5067300 w 7734300"/>
              <a:gd name="connsiteY2" fmla="*/ 9505950 h 10357535"/>
              <a:gd name="connsiteX3" fmla="*/ 0 w 7734300"/>
              <a:gd name="connsiteY3" fmla="*/ 8648700 h 10357535"/>
              <a:gd name="connsiteX4" fmla="*/ 0 w 7734300"/>
              <a:gd name="connsiteY4" fmla="*/ 0 h 10357535"/>
              <a:gd name="connsiteX5" fmla="*/ 6343650 w 7734300"/>
              <a:gd name="connsiteY5" fmla="*/ 2343150 h 10357535"/>
              <a:gd name="connsiteX6" fmla="*/ 6400800 w 7734300"/>
              <a:gd name="connsiteY6" fmla="*/ 3467100 h 10357535"/>
              <a:gd name="connsiteX7" fmla="*/ 7734300 w 7734300"/>
              <a:gd name="connsiteY7" fmla="*/ 4438650 h 10357535"/>
              <a:gd name="connsiteX8" fmla="*/ 7600950 w 7734300"/>
              <a:gd name="connsiteY8" fmla="*/ 6838950 h 10357535"/>
              <a:gd name="connsiteX9" fmla="*/ 7143750 w 7734300"/>
              <a:gd name="connsiteY9" fmla="*/ 7372350 h 10357535"/>
              <a:gd name="connsiteX10" fmla="*/ 7239000 w 7734300"/>
              <a:gd name="connsiteY10" fmla="*/ 10274300 h 10357535"/>
              <a:gd name="connsiteX0" fmla="*/ 7239000 w 7734300"/>
              <a:gd name="connsiteY0" fmla="*/ 10274300 h 10391284"/>
              <a:gd name="connsiteX1" fmla="*/ 6553200 w 7734300"/>
              <a:gd name="connsiteY1" fmla="*/ 10020300 h 10391284"/>
              <a:gd name="connsiteX2" fmla="*/ 5067300 w 7734300"/>
              <a:gd name="connsiteY2" fmla="*/ 9505950 h 10391284"/>
              <a:gd name="connsiteX3" fmla="*/ 0 w 7734300"/>
              <a:gd name="connsiteY3" fmla="*/ 8648700 h 10391284"/>
              <a:gd name="connsiteX4" fmla="*/ 0 w 7734300"/>
              <a:gd name="connsiteY4" fmla="*/ 0 h 10391284"/>
              <a:gd name="connsiteX5" fmla="*/ 6343650 w 7734300"/>
              <a:gd name="connsiteY5" fmla="*/ 2343150 h 10391284"/>
              <a:gd name="connsiteX6" fmla="*/ 6400800 w 7734300"/>
              <a:gd name="connsiteY6" fmla="*/ 3467100 h 10391284"/>
              <a:gd name="connsiteX7" fmla="*/ 7734300 w 7734300"/>
              <a:gd name="connsiteY7" fmla="*/ 4438650 h 10391284"/>
              <a:gd name="connsiteX8" fmla="*/ 7600950 w 7734300"/>
              <a:gd name="connsiteY8" fmla="*/ 6838950 h 10391284"/>
              <a:gd name="connsiteX9" fmla="*/ 7143750 w 7734300"/>
              <a:gd name="connsiteY9" fmla="*/ 7372350 h 10391284"/>
              <a:gd name="connsiteX10" fmla="*/ 7239000 w 7734300"/>
              <a:gd name="connsiteY10" fmla="*/ 10274300 h 10391284"/>
              <a:gd name="connsiteX0" fmla="*/ 7239000 w 7734300"/>
              <a:gd name="connsiteY0" fmla="*/ 10274300 h 10391284"/>
              <a:gd name="connsiteX1" fmla="*/ 6553200 w 7734300"/>
              <a:gd name="connsiteY1" fmla="*/ 10020300 h 10391284"/>
              <a:gd name="connsiteX2" fmla="*/ 5067300 w 7734300"/>
              <a:gd name="connsiteY2" fmla="*/ 9505950 h 10391284"/>
              <a:gd name="connsiteX3" fmla="*/ 0 w 7734300"/>
              <a:gd name="connsiteY3" fmla="*/ 8648700 h 10391284"/>
              <a:gd name="connsiteX4" fmla="*/ 0 w 7734300"/>
              <a:gd name="connsiteY4" fmla="*/ 0 h 10391284"/>
              <a:gd name="connsiteX5" fmla="*/ 6343650 w 7734300"/>
              <a:gd name="connsiteY5" fmla="*/ 2343150 h 10391284"/>
              <a:gd name="connsiteX6" fmla="*/ 6400800 w 7734300"/>
              <a:gd name="connsiteY6" fmla="*/ 3467100 h 10391284"/>
              <a:gd name="connsiteX7" fmla="*/ 7734300 w 7734300"/>
              <a:gd name="connsiteY7" fmla="*/ 4438650 h 10391284"/>
              <a:gd name="connsiteX8" fmla="*/ 7600950 w 7734300"/>
              <a:gd name="connsiteY8" fmla="*/ 6838950 h 10391284"/>
              <a:gd name="connsiteX9" fmla="*/ 7143750 w 7734300"/>
              <a:gd name="connsiteY9" fmla="*/ 7372350 h 10391284"/>
              <a:gd name="connsiteX10" fmla="*/ 7239000 w 7734300"/>
              <a:gd name="connsiteY10" fmla="*/ 10274300 h 10391284"/>
              <a:gd name="connsiteX0" fmla="*/ 7239000 w 7734300"/>
              <a:gd name="connsiteY0" fmla="*/ 10274300 h 10391284"/>
              <a:gd name="connsiteX1" fmla="*/ 6553200 w 7734300"/>
              <a:gd name="connsiteY1" fmla="*/ 10020300 h 10391284"/>
              <a:gd name="connsiteX2" fmla="*/ 5067300 w 7734300"/>
              <a:gd name="connsiteY2" fmla="*/ 9505950 h 10391284"/>
              <a:gd name="connsiteX3" fmla="*/ 0 w 7734300"/>
              <a:gd name="connsiteY3" fmla="*/ 8648700 h 10391284"/>
              <a:gd name="connsiteX4" fmla="*/ 0 w 7734300"/>
              <a:gd name="connsiteY4" fmla="*/ 0 h 10391284"/>
              <a:gd name="connsiteX5" fmla="*/ 6343650 w 7734300"/>
              <a:gd name="connsiteY5" fmla="*/ 2343150 h 10391284"/>
              <a:gd name="connsiteX6" fmla="*/ 6400800 w 7734300"/>
              <a:gd name="connsiteY6" fmla="*/ 3467100 h 10391284"/>
              <a:gd name="connsiteX7" fmla="*/ 7734300 w 7734300"/>
              <a:gd name="connsiteY7" fmla="*/ 4438650 h 10391284"/>
              <a:gd name="connsiteX8" fmla="*/ 7600950 w 7734300"/>
              <a:gd name="connsiteY8" fmla="*/ 6838950 h 10391284"/>
              <a:gd name="connsiteX9" fmla="*/ 7143750 w 7734300"/>
              <a:gd name="connsiteY9" fmla="*/ 7372350 h 10391284"/>
              <a:gd name="connsiteX10" fmla="*/ 7239000 w 7734300"/>
              <a:gd name="connsiteY10" fmla="*/ 10274300 h 10391284"/>
              <a:gd name="connsiteX0" fmla="*/ 7239000 w 7734300"/>
              <a:gd name="connsiteY0" fmla="*/ 10210800 h 10364533"/>
              <a:gd name="connsiteX1" fmla="*/ 6553200 w 7734300"/>
              <a:gd name="connsiteY1" fmla="*/ 10020300 h 10364533"/>
              <a:gd name="connsiteX2" fmla="*/ 5067300 w 7734300"/>
              <a:gd name="connsiteY2" fmla="*/ 9505950 h 10364533"/>
              <a:gd name="connsiteX3" fmla="*/ 0 w 7734300"/>
              <a:gd name="connsiteY3" fmla="*/ 8648700 h 10364533"/>
              <a:gd name="connsiteX4" fmla="*/ 0 w 7734300"/>
              <a:gd name="connsiteY4" fmla="*/ 0 h 10364533"/>
              <a:gd name="connsiteX5" fmla="*/ 6343650 w 7734300"/>
              <a:gd name="connsiteY5" fmla="*/ 2343150 h 10364533"/>
              <a:gd name="connsiteX6" fmla="*/ 6400800 w 7734300"/>
              <a:gd name="connsiteY6" fmla="*/ 3467100 h 10364533"/>
              <a:gd name="connsiteX7" fmla="*/ 7734300 w 7734300"/>
              <a:gd name="connsiteY7" fmla="*/ 4438650 h 10364533"/>
              <a:gd name="connsiteX8" fmla="*/ 7600950 w 7734300"/>
              <a:gd name="connsiteY8" fmla="*/ 6838950 h 10364533"/>
              <a:gd name="connsiteX9" fmla="*/ 7143750 w 7734300"/>
              <a:gd name="connsiteY9" fmla="*/ 7372350 h 10364533"/>
              <a:gd name="connsiteX10" fmla="*/ 7239000 w 7734300"/>
              <a:gd name="connsiteY10" fmla="*/ 10210800 h 10364533"/>
              <a:gd name="connsiteX0" fmla="*/ 7239000 w 7734300"/>
              <a:gd name="connsiteY0" fmla="*/ 10210800 h 10389420"/>
              <a:gd name="connsiteX1" fmla="*/ 6553200 w 7734300"/>
              <a:gd name="connsiteY1" fmla="*/ 10020300 h 10389420"/>
              <a:gd name="connsiteX2" fmla="*/ 5067300 w 7734300"/>
              <a:gd name="connsiteY2" fmla="*/ 9505950 h 10389420"/>
              <a:gd name="connsiteX3" fmla="*/ 0 w 7734300"/>
              <a:gd name="connsiteY3" fmla="*/ 8648700 h 10389420"/>
              <a:gd name="connsiteX4" fmla="*/ 0 w 7734300"/>
              <a:gd name="connsiteY4" fmla="*/ 0 h 10389420"/>
              <a:gd name="connsiteX5" fmla="*/ 6343650 w 7734300"/>
              <a:gd name="connsiteY5" fmla="*/ 2343150 h 10389420"/>
              <a:gd name="connsiteX6" fmla="*/ 6400800 w 7734300"/>
              <a:gd name="connsiteY6" fmla="*/ 3467100 h 10389420"/>
              <a:gd name="connsiteX7" fmla="*/ 7734300 w 7734300"/>
              <a:gd name="connsiteY7" fmla="*/ 4438650 h 10389420"/>
              <a:gd name="connsiteX8" fmla="*/ 7600950 w 7734300"/>
              <a:gd name="connsiteY8" fmla="*/ 6838950 h 10389420"/>
              <a:gd name="connsiteX9" fmla="*/ 7143750 w 7734300"/>
              <a:gd name="connsiteY9" fmla="*/ 7372350 h 10389420"/>
              <a:gd name="connsiteX10" fmla="*/ 7239000 w 7734300"/>
              <a:gd name="connsiteY10" fmla="*/ 10210800 h 10389420"/>
              <a:gd name="connsiteX0" fmla="*/ 7239000 w 7734300"/>
              <a:gd name="connsiteY0" fmla="*/ 9994900 h 10173520"/>
              <a:gd name="connsiteX1" fmla="*/ 6553200 w 7734300"/>
              <a:gd name="connsiteY1" fmla="*/ 9804400 h 10173520"/>
              <a:gd name="connsiteX2" fmla="*/ 5067300 w 7734300"/>
              <a:gd name="connsiteY2" fmla="*/ 9290050 h 10173520"/>
              <a:gd name="connsiteX3" fmla="*/ 0 w 7734300"/>
              <a:gd name="connsiteY3" fmla="*/ 8432800 h 10173520"/>
              <a:gd name="connsiteX4" fmla="*/ 38100 w 7734300"/>
              <a:gd name="connsiteY4" fmla="*/ 0 h 10173520"/>
              <a:gd name="connsiteX5" fmla="*/ 6343650 w 7734300"/>
              <a:gd name="connsiteY5" fmla="*/ 2127250 h 10173520"/>
              <a:gd name="connsiteX6" fmla="*/ 6400800 w 7734300"/>
              <a:gd name="connsiteY6" fmla="*/ 3251200 h 10173520"/>
              <a:gd name="connsiteX7" fmla="*/ 7734300 w 7734300"/>
              <a:gd name="connsiteY7" fmla="*/ 4222750 h 10173520"/>
              <a:gd name="connsiteX8" fmla="*/ 7600950 w 7734300"/>
              <a:gd name="connsiteY8" fmla="*/ 6623050 h 10173520"/>
              <a:gd name="connsiteX9" fmla="*/ 7143750 w 7734300"/>
              <a:gd name="connsiteY9" fmla="*/ 7156450 h 10173520"/>
              <a:gd name="connsiteX10" fmla="*/ 7239000 w 7734300"/>
              <a:gd name="connsiteY10" fmla="*/ 9994900 h 10173520"/>
              <a:gd name="connsiteX0" fmla="*/ 7264400 w 7759700"/>
              <a:gd name="connsiteY0" fmla="*/ 9931400 h 10110020"/>
              <a:gd name="connsiteX1" fmla="*/ 6578600 w 7759700"/>
              <a:gd name="connsiteY1" fmla="*/ 9740900 h 10110020"/>
              <a:gd name="connsiteX2" fmla="*/ 5092700 w 7759700"/>
              <a:gd name="connsiteY2" fmla="*/ 9226550 h 10110020"/>
              <a:gd name="connsiteX3" fmla="*/ 25400 w 7759700"/>
              <a:gd name="connsiteY3" fmla="*/ 8369300 h 10110020"/>
              <a:gd name="connsiteX4" fmla="*/ 0 w 7759700"/>
              <a:gd name="connsiteY4" fmla="*/ 0 h 10110020"/>
              <a:gd name="connsiteX5" fmla="*/ 6369050 w 7759700"/>
              <a:gd name="connsiteY5" fmla="*/ 2063750 h 10110020"/>
              <a:gd name="connsiteX6" fmla="*/ 6426200 w 7759700"/>
              <a:gd name="connsiteY6" fmla="*/ 3187700 h 10110020"/>
              <a:gd name="connsiteX7" fmla="*/ 7759700 w 7759700"/>
              <a:gd name="connsiteY7" fmla="*/ 4159250 h 10110020"/>
              <a:gd name="connsiteX8" fmla="*/ 7626350 w 7759700"/>
              <a:gd name="connsiteY8" fmla="*/ 6559550 h 10110020"/>
              <a:gd name="connsiteX9" fmla="*/ 7169150 w 7759700"/>
              <a:gd name="connsiteY9" fmla="*/ 7092950 h 10110020"/>
              <a:gd name="connsiteX10" fmla="*/ 7264400 w 7759700"/>
              <a:gd name="connsiteY10" fmla="*/ 9931400 h 10110020"/>
              <a:gd name="connsiteX0" fmla="*/ 7315200 w 7810500"/>
              <a:gd name="connsiteY0" fmla="*/ 10198100 h 10376720"/>
              <a:gd name="connsiteX1" fmla="*/ 6629400 w 7810500"/>
              <a:gd name="connsiteY1" fmla="*/ 10007600 h 10376720"/>
              <a:gd name="connsiteX2" fmla="*/ 5143500 w 7810500"/>
              <a:gd name="connsiteY2" fmla="*/ 9493250 h 10376720"/>
              <a:gd name="connsiteX3" fmla="*/ 76200 w 7810500"/>
              <a:gd name="connsiteY3" fmla="*/ 8636000 h 10376720"/>
              <a:gd name="connsiteX4" fmla="*/ 0 w 7810500"/>
              <a:gd name="connsiteY4" fmla="*/ 0 h 10376720"/>
              <a:gd name="connsiteX5" fmla="*/ 6419850 w 7810500"/>
              <a:gd name="connsiteY5" fmla="*/ 2330450 h 10376720"/>
              <a:gd name="connsiteX6" fmla="*/ 6477000 w 7810500"/>
              <a:gd name="connsiteY6" fmla="*/ 3454400 h 10376720"/>
              <a:gd name="connsiteX7" fmla="*/ 7810500 w 7810500"/>
              <a:gd name="connsiteY7" fmla="*/ 4425950 h 10376720"/>
              <a:gd name="connsiteX8" fmla="*/ 7677150 w 7810500"/>
              <a:gd name="connsiteY8" fmla="*/ 6826250 h 10376720"/>
              <a:gd name="connsiteX9" fmla="*/ 7219950 w 7810500"/>
              <a:gd name="connsiteY9" fmla="*/ 7359650 h 10376720"/>
              <a:gd name="connsiteX10" fmla="*/ 7315200 w 7810500"/>
              <a:gd name="connsiteY10" fmla="*/ 10198100 h 10376720"/>
              <a:gd name="connsiteX0" fmla="*/ 7315200 w 7810500"/>
              <a:gd name="connsiteY0" fmla="*/ 10198100 h 10376720"/>
              <a:gd name="connsiteX1" fmla="*/ 6629400 w 7810500"/>
              <a:gd name="connsiteY1" fmla="*/ 10007600 h 10376720"/>
              <a:gd name="connsiteX2" fmla="*/ 5143500 w 7810500"/>
              <a:gd name="connsiteY2" fmla="*/ 9493250 h 10376720"/>
              <a:gd name="connsiteX3" fmla="*/ 76200 w 7810500"/>
              <a:gd name="connsiteY3" fmla="*/ 8636000 h 10376720"/>
              <a:gd name="connsiteX4" fmla="*/ 0 w 7810500"/>
              <a:gd name="connsiteY4" fmla="*/ 0 h 10376720"/>
              <a:gd name="connsiteX5" fmla="*/ 927100 w 7810500"/>
              <a:gd name="connsiteY5" fmla="*/ 336549 h 10376720"/>
              <a:gd name="connsiteX6" fmla="*/ 6419850 w 7810500"/>
              <a:gd name="connsiteY6" fmla="*/ 2330450 h 10376720"/>
              <a:gd name="connsiteX7" fmla="*/ 6477000 w 7810500"/>
              <a:gd name="connsiteY7" fmla="*/ 3454400 h 10376720"/>
              <a:gd name="connsiteX8" fmla="*/ 7810500 w 7810500"/>
              <a:gd name="connsiteY8" fmla="*/ 4425950 h 10376720"/>
              <a:gd name="connsiteX9" fmla="*/ 7677150 w 7810500"/>
              <a:gd name="connsiteY9" fmla="*/ 6826250 h 10376720"/>
              <a:gd name="connsiteX10" fmla="*/ 7219950 w 7810500"/>
              <a:gd name="connsiteY10" fmla="*/ 7359650 h 10376720"/>
              <a:gd name="connsiteX11" fmla="*/ 7315200 w 7810500"/>
              <a:gd name="connsiteY11" fmla="*/ 10198100 h 10376720"/>
              <a:gd name="connsiteX0" fmla="*/ 7315200 w 7810500"/>
              <a:gd name="connsiteY0" fmla="*/ 10198100 h 10376720"/>
              <a:gd name="connsiteX1" fmla="*/ 6629400 w 7810500"/>
              <a:gd name="connsiteY1" fmla="*/ 10007600 h 10376720"/>
              <a:gd name="connsiteX2" fmla="*/ 5143500 w 7810500"/>
              <a:gd name="connsiteY2" fmla="*/ 9493250 h 10376720"/>
              <a:gd name="connsiteX3" fmla="*/ 76200 w 7810500"/>
              <a:gd name="connsiteY3" fmla="*/ 8636000 h 10376720"/>
              <a:gd name="connsiteX4" fmla="*/ 0 w 7810500"/>
              <a:gd name="connsiteY4" fmla="*/ 0 h 10376720"/>
              <a:gd name="connsiteX5" fmla="*/ 1460500 w 7810500"/>
              <a:gd name="connsiteY5" fmla="*/ 730249 h 10376720"/>
              <a:gd name="connsiteX6" fmla="*/ 6419850 w 7810500"/>
              <a:gd name="connsiteY6" fmla="*/ 2330450 h 10376720"/>
              <a:gd name="connsiteX7" fmla="*/ 6477000 w 7810500"/>
              <a:gd name="connsiteY7" fmla="*/ 3454400 h 10376720"/>
              <a:gd name="connsiteX8" fmla="*/ 7810500 w 7810500"/>
              <a:gd name="connsiteY8" fmla="*/ 4425950 h 10376720"/>
              <a:gd name="connsiteX9" fmla="*/ 7677150 w 7810500"/>
              <a:gd name="connsiteY9" fmla="*/ 6826250 h 10376720"/>
              <a:gd name="connsiteX10" fmla="*/ 7219950 w 7810500"/>
              <a:gd name="connsiteY10" fmla="*/ 7359650 h 10376720"/>
              <a:gd name="connsiteX11" fmla="*/ 7315200 w 7810500"/>
              <a:gd name="connsiteY11" fmla="*/ 10198100 h 10376720"/>
              <a:gd name="connsiteX0" fmla="*/ 7315200 w 7810500"/>
              <a:gd name="connsiteY0" fmla="*/ 10198100 h 10376720"/>
              <a:gd name="connsiteX1" fmla="*/ 6629400 w 7810500"/>
              <a:gd name="connsiteY1" fmla="*/ 10007600 h 10376720"/>
              <a:gd name="connsiteX2" fmla="*/ 5143500 w 7810500"/>
              <a:gd name="connsiteY2" fmla="*/ 9493250 h 10376720"/>
              <a:gd name="connsiteX3" fmla="*/ 76200 w 7810500"/>
              <a:gd name="connsiteY3" fmla="*/ 8636000 h 10376720"/>
              <a:gd name="connsiteX4" fmla="*/ 0 w 7810500"/>
              <a:gd name="connsiteY4" fmla="*/ 0 h 10376720"/>
              <a:gd name="connsiteX5" fmla="*/ 1320800 w 7810500"/>
              <a:gd name="connsiteY5" fmla="*/ 755649 h 10376720"/>
              <a:gd name="connsiteX6" fmla="*/ 6419850 w 7810500"/>
              <a:gd name="connsiteY6" fmla="*/ 2330450 h 10376720"/>
              <a:gd name="connsiteX7" fmla="*/ 6477000 w 7810500"/>
              <a:gd name="connsiteY7" fmla="*/ 3454400 h 10376720"/>
              <a:gd name="connsiteX8" fmla="*/ 7810500 w 7810500"/>
              <a:gd name="connsiteY8" fmla="*/ 4425950 h 10376720"/>
              <a:gd name="connsiteX9" fmla="*/ 7677150 w 7810500"/>
              <a:gd name="connsiteY9" fmla="*/ 6826250 h 10376720"/>
              <a:gd name="connsiteX10" fmla="*/ 7219950 w 7810500"/>
              <a:gd name="connsiteY10" fmla="*/ 7359650 h 10376720"/>
              <a:gd name="connsiteX11" fmla="*/ 7315200 w 7810500"/>
              <a:gd name="connsiteY11" fmla="*/ 10198100 h 10376720"/>
              <a:gd name="connsiteX0" fmla="*/ 7315200 w 7810500"/>
              <a:gd name="connsiteY0" fmla="*/ 10198100 h 10376720"/>
              <a:gd name="connsiteX1" fmla="*/ 6629400 w 7810500"/>
              <a:gd name="connsiteY1" fmla="*/ 10007600 h 10376720"/>
              <a:gd name="connsiteX2" fmla="*/ 5143500 w 7810500"/>
              <a:gd name="connsiteY2" fmla="*/ 9493250 h 10376720"/>
              <a:gd name="connsiteX3" fmla="*/ 76200 w 7810500"/>
              <a:gd name="connsiteY3" fmla="*/ 8636000 h 10376720"/>
              <a:gd name="connsiteX4" fmla="*/ 0 w 7810500"/>
              <a:gd name="connsiteY4" fmla="*/ 0 h 10376720"/>
              <a:gd name="connsiteX5" fmla="*/ 1193800 w 7810500"/>
              <a:gd name="connsiteY5" fmla="*/ 666749 h 10376720"/>
              <a:gd name="connsiteX6" fmla="*/ 6419850 w 7810500"/>
              <a:gd name="connsiteY6" fmla="*/ 2330450 h 10376720"/>
              <a:gd name="connsiteX7" fmla="*/ 6477000 w 7810500"/>
              <a:gd name="connsiteY7" fmla="*/ 3454400 h 10376720"/>
              <a:gd name="connsiteX8" fmla="*/ 7810500 w 7810500"/>
              <a:gd name="connsiteY8" fmla="*/ 4425950 h 10376720"/>
              <a:gd name="connsiteX9" fmla="*/ 7677150 w 7810500"/>
              <a:gd name="connsiteY9" fmla="*/ 6826250 h 10376720"/>
              <a:gd name="connsiteX10" fmla="*/ 7219950 w 7810500"/>
              <a:gd name="connsiteY10" fmla="*/ 7359650 h 10376720"/>
              <a:gd name="connsiteX11" fmla="*/ 7315200 w 7810500"/>
              <a:gd name="connsiteY11" fmla="*/ 10198100 h 10376720"/>
              <a:gd name="connsiteX0" fmla="*/ 7299960 w 7795260"/>
              <a:gd name="connsiteY0" fmla="*/ 10236200 h 10414820"/>
              <a:gd name="connsiteX1" fmla="*/ 6614160 w 7795260"/>
              <a:gd name="connsiteY1" fmla="*/ 10045700 h 10414820"/>
              <a:gd name="connsiteX2" fmla="*/ 5128260 w 7795260"/>
              <a:gd name="connsiteY2" fmla="*/ 9531350 h 10414820"/>
              <a:gd name="connsiteX3" fmla="*/ 60960 w 7795260"/>
              <a:gd name="connsiteY3" fmla="*/ 8674100 h 10414820"/>
              <a:gd name="connsiteX4" fmla="*/ 0 w 7795260"/>
              <a:gd name="connsiteY4" fmla="*/ 0 h 10414820"/>
              <a:gd name="connsiteX5" fmla="*/ 1178560 w 7795260"/>
              <a:gd name="connsiteY5" fmla="*/ 704849 h 10414820"/>
              <a:gd name="connsiteX6" fmla="*/ 6404610 w 7795260"/>
              <a:gd name="connsiteY6" fmla="*/ 2368550 h 10414820"/>
              <a:gd name="connsiteX7" fmla="*/ 6461760 w 7795260"/>
              <a:gd name="connsiteY7" fmla="*/ 3492500 h 10414820"/>
              <a:gd name="connsiteX8" fmla="*/ 7795260 w 7795260"/>
              <a:gd name="connsiteY8" fmla="*/ 4464050 h 10414820"/>
              <a:gd name="connsiteX9" fmla="*/ 7661910 w 7795260"/>
              <a:gd name="connsiteY9" fmla="*/ 6864350 h 10414820"/>
              <a:gd name="connsiteX10" fmla="*/ 7204710 w 7795260"/>
              <a:gd name="connsiteY10" fmla="*/ 7397750 h 10414820"/>
              <a:gd name="connsiteX11" fmla="*/ 7299960 w 7795260"/>
              <a:gd name="connsiteY11" fmla="*/ 10236200 h 10414820"/>
              <a:gd name="connsiteX0" fmla="*/ 7254240 w 7749540"/>
              <a:gd name="connsiteY0" fmla="*/ 10213340 h 10391960"/>
              <a:gd name="connsiteX1" fmla="*/ 6568440 w 7749540"/>
              <a:gd name="connsiteY1" fmla="*/ 10022840 h 10391960"/>
              <a:gd name="connsiteX2" fmla="*/ 5082540 w 7749540"/>
              <a:gd name="connsiteY2" fmla="*/ 9508490 h 10391960"/>
              <a:gd name="connsiteX3" fmla="*/ 15240 w 7749540"/>
              <a:gd name="connsiteY3" fmla="*/ 8651240 h 10391960"/>
              <a:gd name="connsiteX4" fmla="*/ 0 w 7749540"/>
              <a:gd name="connsiteY4" fmla="*/ 0 h 10391960"/>
              <a:gd name="connsiteX5" fmla="*/ 1132840 w 7749540"/>
              <a:gd name="connsiteY5" fmla="*/ 681989 h 10391960"/>
              <a:gd name="connsiteX6" fmla="*/ 6358890 w 7749540"/>
              <a:gd name="connsiteY6" fmla="*/ 2345690 h 10391960"/>
              <a:gd name="connsiteX7" fmla="*/ 6416040 w 7749540"/>
              <a:gd name="connsiteY7" fmla="*/ 3469640 h 10391960"/>
              <a:gd name="connsiteX8" fmla="*/ 7749540 w 7749540"/>
              <a:gd name="connsiteY8" fmla="*/ 4441190 h 10391960"/>
              <a:gd name="connsiteX9" fmla="*/ 7616190 w 7749540"/>
              <a:gd name="connsiteY9" fmla="*/ 6841490 h 10391960"/>
              <a:gd name="connsiteX10" fmla="*/ 7158990 w 7749540"/>
              <a:gd name="connsiteY10" fmla="*/ 7374890 h 10391960"/>
              <a:gd name="connsiteX11" fmla="*/ 7254240 w 7749540"/>
              <a:gd name="connsiteY11" fmla="*/ 10213340 h 10391960"/>
              <a:gd name="connsiteX0" fmla="*/ 7254240 w 7749540"/>
              <a:gd name="connsiteY0" fmla="*/ 10213340 h 10391960"/>
              <a:gd name="connsiteX1" fmla="*/ 6568440 w 7749540"/>
              <a:gd name="connsiteY1" fmla="*/ 10022840 h 10391960"/>
              <a:gd name="connsiteX2" fmla="*/ 5082540 w 7749540"/>
              <a:gd name="connsiteY2" fmla="*/ 9508490 h 10391960"/>
              <a:gd name="connsiteX3" fmla="*/ 15240 w 7749540"/>
              <a:gd name="connsiteY3" fmla="*/ 8651240 h 10391960"/>
              <a:gd name="connsiteX4" fmla="*/ 0 w 7749540"/>
              <a:gd name="connsiteY4" fmla="*/ 0 h 10391960"/>
              <a:gd name="connsiteX5" fmla="*/ 1163320 w 7749540"/>
              <a:gd name="connsiteY5" fmla="*/ 659129 h 10391960"/>
              <a:gd name="connsiteX6" fmla="*/ 6358890 w 7749540"/>
              <a:gd name="connsiteY6" fmla="*/ 2345690 h 10391960"/>
              <a:gd name="connsiteX7" fmla="*/ 6416040 w 7749540"/>
              <a:gd name="connsiteY7" fmla="*/ 3469640 h 10391960"/>
              <a:gd name="connsiteX8" fmla="*/ 7749540 w 7749540"/>
              <a:gd name="connsiteY8" fmla="*/ 4441190 h 10391960"/>
              <a:gd name="connsiteX9" fmla="*/ 7616190 w 7749540"/>
              <a:gd name="connsiteY9" fmla="*/ 6841490 h 10391960"/>
              <a:gd name="connsiteX10" fmla="*/ 7158990 w 7749540"/>
              <a:gd name="connsiteY10" fmla="*/ 7374890 h 10391960"/>
              <a:gd name="connsiteX11" fmla="*/ 7254240 w 7749540"/>
              <a:gd name="connsiteY11" fmla="*/ 10213340 h 10391960"/>
              <a:gd name="connsiteX0" fmla="*/ 7249478 w 7744778"/>
              <a:gd name="connsiteY0" fmla="*/ 10270490 h 10449110"/>
              <a:gd name="connsiteX1" fmla="*/ 6563678 w 7744778"/>
              <a:gd name="connsiteY1" fmla="*/ 10079990 h 10449110"/>
              <a:gd name="connsiteX2" fmla="*/ 5077778 w 7744778"/>
              <a:gd name="connsiteY2" fmla="*/ 9565640 h 10449110"/>
              <a:gd name="connsiteX3" fmla="*/ 10478 w 7744778"/>
              <a:gd name="connsiteY3" fmla="*/ 8708390 h 10449110"/>
              <a:gd name="connsiteX4" fmla="*/ 0 w 7744778"/>
              <a:gd name="connsiteY4" fmla="*/ 0 h 10449110"/>
              <a:gd name="connsiteX5" fmla="*/ 1158558 w 7744778"/>
              <a:gd name="connsiteY5" fmla="*/ 716279 h 10449110"/>
              <a:gd name="connsiteX6" fmla="*/ 6354128 w 7744778"/>
              <a:gd name="connsiteY6" fmla="*/ 2402840 h 10449110"/>
              <a:gd name="connsiteX7" fmla="*/ 6411278 w 7744778"/>
              <a:gd name="connsiteY7" fmla="*/ 3526790 h 10449110"/>
              <a:gd name="connsiteX8" fmla="*/ 7744778 w 7744778"/>
              <a:gd name="connsiteY8" fmla="*/ 4498340 h 10449110"/>
              <a:gd name="connsiteX9" fmla="*/ 7611428 w 7744778"/>
              <a:gd name="connsiteY9" fmla="*/ 6898640 h 10449110"/>
              <a:gd name="connsiteX10" fmla="*/ 7154228 w 7744778"/>
              <a:gd name="connsiteY10" fmla="*/ 7432040 h 10449110"/>
              <a:gd name="connsiteX11" fmla="*/ 7249478 w 7744778"/>
              <a:gd name="connsiteY11" fmla="*/ 10270490 h 10449110"/>
              <a:gd name="connsiteX0" fmla="*/ 7249478 w 7744778"/>
              <a:gd name="connsiteY0" fmla="*/ 10308590 h 10487210"/>
              <a:gd name="connsiteX1" fmla="*/ 6563678 w 7744778"/>
              <a:gd name="connsiteY1" fmla="*/ 10118090 h 10487210"/>
              <a:gd name="connsiteX2" fmla="*/ 5077778 w 7744778"/>
              <a:gd name="connsiteY2" fmla="*/ 9603740 h 10487210"/>
              <a:gd name="connsiteX3" fmla="*/ 10478 w 7744778"/>
              <a:gd name="connsiteY3" fmla="*/ 8746490 h 10487210"/>
              <a:gd name="connsiteX4" fmla="*/ 0 w 7744778"/>
              <a:gd name="connsiteY4" fmla="*/ 0 h 10487210"/>
              <a:gd name="connsiteX5" fmla="*/ 1158558 w 7744778"/>
              <a:gd name="connsiteY5" fmla="*/ 754379 h 10487210"/>
              <a:gd name="connsiteX6" fmla="*/ 6354128 w 7744778"/>
              <a:gd name="connsiteY6" fmla="*/ 2440940 h 10487210"/>
              <a:gd name="connsiteX7" fmla="*/ 6411278 w 7744778"/>
              <a:gd name="connsiteY7" fmla="*/ 3564890 h 10487210"/>
              <a:gd name="connsiteX8" fmla="*/ 7744778 w 7744778"/>
              <a:gd name="connsiteY8" fmla="*/ 4536440 h 10487210"/>
              <a:gd name="connsiteX9" fmla="*/ 7611428 w 7744778"/>
              <a:gd name="connsiteY9" fmla="*/ 6936740 h 10487210"/>
              <a:gd name="connsiteX10" fmla="*/ 7154228 w 7744778"/>
              <a:gd name="connsiteY10" fmla="*/ 7470140 h 10487210"/>
              <a:gd name="connsiteX11" fmla="*/ 7249478 w 7744778"/>
              <a:gd name="connsiteY11" fmla="*/ 10308590 h 10487210"/>
              <a:gd name="connsiteX0" fmla="*/ 7249478 w 7744778"/>
              <a:gd name="connsiteY0" fmla="*/ 10308590 h 10487210"/>
              <a:gd name="connsiteX1" fmla="*/ 6563678 w 7744778"/>
              <a:gd name="connsiteY1" fmla="*/ 10118090 h 10487210"/>
              <a:gd name="connsiteX2" fmla="*/ 5077778 w 7744778"/>
              <a:gd name="connsiteY2" fmla="*/ 9603740 h 10487210"/>
              <a:gd name="connsiteX3" fmla="*/ 10478 w 7744778"/>
              <a:gd name="connsiteY3" fmla="*/ 8746490 h 10487210"/>
              <a:gd name="connsiteX4" fmla="*/ 0 w 7744778"/>
              <a:gd name="connsiteY4" fmla="*/ 0 h 10487210"/>
              <a:gd name="connsiteX5" fmla="*/ 1039178 w 7744778"/>
              <a:gd name="connsiteY5" fmla="*/ 665479 h 10487210"/>
              <a:gd name="connsiteX6" fmla="*/ 1158558 w 7744778"/>
              <a:gd name="connsiteY6" fmla="*/ 754379 h 10487210"/>
              <a:gd name="connsiteX7" fmla="*/ 6354128 w 7744778"/>
              <a:gd name="connsiteY7" fmla="*/ 2440940 h 10487210"/>
              <a:gd name="connsiteX8" fmla="*/ 6411278 w 7744778"/>
              <a:gd name="connsiteY8" fmla="*/ 3564890 h 10487210"/>
              <a:gd name="connsiteX9" fmla="*/ 7744778 w 7744778"/>
              <a:gd name="connsiteY9" fmla="*/ 4536440 h 10487210"/>
              <a:gd name="connsiteX10" fmla="*/ 7611428 w 7744778"/>
              <a:gd name="connsiteY10" fmla="*/ 6936740 h 10487210"/>
              <a:gd name="connsiteX11" fmla="*/ 7154228 w 7744778"/>
              <a:gd name="connsiteY11" fmla="*/ 7470140 h 10487210"/>
              <a:gd name="connsiteX12" fmla="*/ 7249478 w 7744778"/>
              <a:gd name="connsiteY12" fmla="*/ 10308590 h 10487210"/>
              <a:gd name="connsiteX0" fmla="*/ 7249478 w 7744778"/>
              <a:gd name="connsiteY0" fmla="*/ 10308590 h 10487210"/>
              <a:gd name="connsiteX1" fmla="*/ 6563678 w 7744778"/>
              <a:gd name="connsiteY1" fmla="*/ 10118090 h 10487210"/>
              <a:gd name="connsiteX2" fmla="*/ 5077778 w 7744778"/>
              <a:gd name="connsiteY2" fmla="*/ 9603740 h 10487210"/>
              <a:gd name="connsiteX3" fmla="*/ 10478 w 7744778"/>
              <a:gd name="connsiteY3" fmla="*/ 8746490 h 10487210"/>
              <a:gd name="connsiteX4" fmla="*/ 0 w 7744778"/>
              <a:gd name="connsiteY4" fmla="*/ 0 h 10487210"/>
              <a:gd name="connsiteX5" fmla="*/ 1161098 w 7744778"/>
              <a:gd name="connsiteY5" fmla="*/ 353059 h 10487210"/>
              <a:gd name="connsiteX6" fmla="*/ 1158558 w 7744778"/>
              <a:gd name="connsiteY6" fmla="*/ 754379 h 10487210"/>
              <a:gd name="connsiteX7" fmla="*/ 6354128 w 7744778"/>
              <a:gd name="connsiteY7" fmla="*/ 2440940 h 10487210"/>
              <a:gd name="connsiteX8" fmla="*/ 6411278 w 7744778"/>
              <a:gd name="connsiteY8" fmla="*/ 3564890 h 10487210"/>
              <a:gd name="connsiteX9" fmla="*/ 7744778 w 7744778"/>
              <a:gd name="connsiteY9" fmla="*/ 4536440 h 10487210"/>
              <a:gd name="connsiteX10" fmla="*/ 7611428 w 7744778"/>
              <a:gd name="connsiteY10" fmla="*/ 6936740 h 10487210"/>
              <a:gd name="connsiteX11" fmla="*/ 7154228 w 7744778"/>
              <a:gd name="connsiteY11" fmla="*/ 7470140 h 10487210"/>
              <a:gd name="connsiteX12" fmla="*/ 7249478 w 7744778"/>
              <a:gd name="connsiteY12" fmla="*/ 10308590 h 10487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744778" h="10487210">
                <a:moveTo>
                  <a:pt x="7249478" y="10308590"/>
                </a:moveTo>
                <a:cubicBezTo>
                  <a:pt x="7097078" y="10410190"/>
                  <a:pt x="7084378" y="10740390"/>
                  <a:pt x="6563678" y="10118090"/>
                </a:cubicBezTo>
                <a:cubicBezTo>
                  <a:pt x="5852478" y="10403840"/>
                  <a:pt x="5954078" y="10359390"/>
                  <a:pt x="5077778" y="9603740"/>
                </a:cubicBezTo>
                <a:lnTo>
                  <a:pt x="10478" y="8746490"/>
                </a:lnTo>
                <a:cubicBezTo>
                  <a:pt x="2011" y="5956723"/>
                  <a:pt x="8467" y="2789767"/>
                  <a:pt x="0" y="0"/>
                </a:cubicBezTo>
                <a:lnTo>
                  <a:pt x="1161098" y="353059"/>
                </a:lnTo>
                <a:cubicBezTo>
                  <a:pt x="1160251" y="486832"/>
                  <a:pt x="1159405" y="620606"/>
                  <a:pt x="1158558" y="754379"/>
                </a:cubicBezTo>
                <a:lnTo>
                  <a:pt x="6354128" y="2440940"/>
                </a:lnTo>
                <a:lnTo>
                  <a:pt x="6411278" y="3564890"/>
                </a:lnTo>
                <a:lnTo>
                  <a:pt x="7744778" y="4536440"/>
                </a:lnTo>
                <a:lnTo>
                  <a:pt x="7611428" y="6936740"/>
                </a:lnTo>
                <a:lnTo>
                  <a:pt x="7154228" y="7470140"/>
                </a:lnTo>
                <a:lnTo>
                  <a:pt x="7249478" y="10308590"/>
                </a:lnTo>
                <a:close/>
              </a:path>
            </a:pathLst>
          </a:custGeom>
          <a:gradFill flip="none" rotWithShape="1">
            <a:gsLst>
              <a:gs pos="57000">
                <a:srgbClr val="F8F8F8"/>
              </a:gs>
              <a:gs pos="100000">
                <a:srgbClr val="F0F0F0"/>
              </a:gs>
            </a:gsLst>
            <a:lin ang="13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900"/>
          </a:p>
        </p:txBody>
      </p:sp>
      <p:sp>
        <p:nvSpPr>
          <p:cNvPr id="24" name="Retângulo 4">
            <a:extLst>
              <a:ext uri="{FF2B5EF4-FFF2-40B4-BE49-F238E27FC236}">
                <a16:creationId xmlns:a16="http://schemas.microsoft.com/office/drawing/2014/main" id="{65445901-A1DC-561C-608A-0D2BB41AF5ED}"/>
              </a:ext>
            </a:extLst>
          </p:cNvPr>
          <p:cNvSpPr/>
          <p:nvPr userDrawn="1"/>
        </p:nvSpPr>
        <p:spPr>
          <a:xfrm>
            <a:off x="1807" y="1438276"/>
            <a:ext cx="2355923" cy="5419725"/>
          </a:xfrm>
          <a:custGeom>
            <a:avLst/>
            <a:gdLst>
              <a:gd name="connsiteX0" fmla="*/ 0 w 4710618"/>
              <a:gd name="connsiteY0" fmla="*/ 0 h 10839450"/>
              <a:gd name="connsiteX1" fmla="*/ 4710618 w 4710618"/>
              <a:gd name="connsiteY1" fmla="*/ 0 h 10839450"/>
              <a:gd name="connsiteX2" fmla="*/ 4710618 w 4710618"/>
              <a:gd name="connsiteY2" fmla="*/ 10839450 h 10839450"/>
              <a:gd name="connsiteX3" fmla="*/ 0 w 4710618"/>
              <a:gd name="connsiteY3" fmla="*/ 10839450 h 10839450"/>
              <a:gd name="connsiteX4" fmla="*/ 0 w 4710618"/>
              <a:gd name="connsiteY4" fmla="*/ 0 h 10839450"/>
              <a:gd name="connsiteX0" fmla="*/ 0 w 4710618"/>
              <a:gd name="connsiteY0" fmla="*/ 0 h 10839450"/>
              <a:gd name="connsiteX1" fmla="*/ 3224718 w 4710618"/>
              <a:gd name="connsiteY1" fmla="*/ 1581150 h 10839450"/>
              <a:gd name="connsiteX2" fmla="*/ 4710618 w 4710618"/>
              <a:gd name="connsiteY2" fmla="*/ 10839450 h 10839450"/>
              <a:gd name="connsiteX3" fmla="*/ 0 w 4710618"/>
              <a:gd name="connsiteY3" fmla="*/ 10839450 h 10839450"/>
              <a:gd name="connsiteX4" fmla="*/ 0 w 4710618"/>
              <a:gd name="connsiteY4" fmla="*/ 0 h 10839450"/>
              <a:gd name="connsiteX0" fmla="*/ 0 w 4710618"/>
              <a:gd name="connsiteY0" fmla="*/ 0 h 10839450"/>
              <a:gd name="connsiteX1" fmla="*/ 3872418 w 4710618"/>
              <a:gd name="connsiteY1" fmla="*/ 1447800 h 10839450"/>
              <a:gd name="connsiteX2" fmla="*/ 4710618 w 4710618"/>
              <a:gd name="connsiteY2" fmla="*/ 10839450 h 10839450"/>
              <a:gd name="connsiteX3" fmla="*/ 0 w 4710618"/>
              <a:gd name="connsiteY3" fmla="*/ 10839450 h 10839450"/>
              <a:gd name="connsiteX4" fmla="*/ 0 w 4710618"/>
              <a:gd name="connsiteY4" fmla="*/ 0 h 10839450"/>
              <a:gd name="connsiteX0" fmla="*/ 0 w 4710618"/>
              <a:gd name="connsiteY0" fmla="*/ 0 h 10839450"/>
              <a:gd name="connsiteX1" fmla="*/ 3319968 w 4710618"/>
              <a:gd name="connsiteY1" fmla="*/ 1257300 h 10839450"/>
              <a:gd name="connsiteX2" fmla="*/ 3872418 w 4710618"/>
              <a:gd name="connsiteY2" fmla="*/ 1447800 h 10839450"/>
              <a:gd name="connsiteX3" fmla="*/ 4710618 w 4710618"/>
              <a:gd name="connsiteY3" fmla="*/ 10839450 h 10839450"/>
              <a:gd name="connsiteX4" fmla="*/ 0 w 4710618"/>
              <a:gd name="connsiteY4" fmla="*/ 10839450 h 10839450"/>
              <a:gd name="connsiteX5" fmla="*/ 0 w 4710618"/>
              <a:gd name="connsiteY5" fmla="*/ 0 h 10839450"/>
              <a:gd name="connsiteX0" fmla="*/ 0 w 4710618"/>
              <a:gd name="connsiteY0" fmla="*/ 0 h 10839450"/>
              <a:gd name="connsiteX1" fmla="*/ 3434268 w 4710618"/>
              <a:gd name="connsiteY1" fmla="*/ 1047750 h 10839450"/>
              <a:gd name="connsiteX2" fmla="*/ 3872418 w 4710618"/>
              <a:gd name="connsiteY2" fmla="*/ 1447800 h 10839450"/>
              <a:gd name="connsiteX3" fmla="*/ 4710618 w 4710618"/>
              <a:gd name="connsiteY3" fmla="*/ 10839450 h 10839450"/>
              <a:gd name="connsiteX4" fmla="*/ 0 w 4710618"/>
              <a:gd name="connsiteY4" fmla="*/ 10839450 h 10839450"/>
              <a:gd name="connsiteX5" fmla="*/ 0 w 4710618"/>
              <a:gd name="connsiteY5" fmla="*/ 0 h 10839450"/>
              <a:gd name="connsiteX0" fmla="*/ 0 w 4710618"/>
              <a:gd name="connsiteY0" fmla="*/ 0 h 10839450"/>
              <a:gd name="connsiteX1" fmla="*/ 3434268 w 4710618"/>
              <a:gd name="connsiteY1" fmla="*/ 1047750 h 10839450"/>
              <a:gd name="connsiteX2" fmla="*/ 3872418 w 4710618"/>
              <a:gd name="connsiteY2" fmla="*/ 1447800 h 10839450"/>
              <a:gd name="connsiteX3" fmla="*/ 4710618 w 4710618"/>
              <a:gd name="connsiteY3" fmla="*/ 10839450 h 10839450"/>
              <a:gd name="connsiteX4" fmla="*/ 0 w 4710618"/>
              <a:gd name="connsiteY4" fmla="*/ 10839450 h 10839450"/>
              <a:gd name="connsiteX5" fmla="*/ 0 w 4710618"/>
              <a:gd name="connsiteY5" fmla="*/ 0 h 10839450"/>
              <a:gd name="connsiteX0" fmla="*/ 0 w 4710618"/>
              <a:gd name="connsiteY0" fmla="*/ 0 h 10839450"/>
              <a:gd name="connsiteX1" fmla="*/ 3434268 w 4710618"/>
              <a:gd name="connsiteY1" fmla="*/ 1047750 h 10839450"/>
              <a:gd name="connsiteX2" fmla="*/ 3872418 w 4710618"/>
              <a:gd name="connsiteY2" fmla="*/ 1447800 h 10839450"/>
              <a:gd name="connsiteX3" fmla="*/ 4710618 w 4710618"/>
              <a:gd name="connsiteY3" fmla="*/ 10839450 h 10839450"/>
              <a:gd name="connsiteX4" fmla="*/ 0 w 4710618"/>
              <a:gd name="connsiteY4" fmla="*/ 10839450 h 10839450"/>
              <a:gd name="connsiteX5" fmla="*/ 0 w 4710618"/>
              <a:gd name="connsiteY5" fmla="*/ 0 h 10839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10618" h="10839450">
                <a:moveTo>
                  <a:pt x="0" y="0"/>
                </a:moveTo>
                <a:lnTo>
                  <a:pt x="3434268" y="1047750"/>
                </a:lnTo>
                <a:cubicBezTo>
                  <a:pt x="3679378" y="1158240"/>
                  <a:pt x="3833048" y="1268730"/>
                  <a:pt x="3872418" y="1447800"/>
                </a:cubicBezTo>
                <a:lnTo>
                  <a:pt x="4710618" y="10839450"/>
                </a:lnTo>
                <a:lnTo>
                  <a:pt x="0" y="10839450"/>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900"/>
          </a:p>
        </p:txBody>
      </p:sp>
      <p:sp>
        <p:nvSpPr>
          <p:cNvPr id="25" name="Retângulo 3">
            <a:extLst>
              <a:ext uri="{FF2B5EF4-FFF2-40B4-BE49-F238E27FC236}">
                <a16:creationId xmlns:a16="http://schemas.microsoft.com/office/drawing/2014/main" id="{96EB3452-06DD-3E37-9A2E-BF375182F971}"/>
              </a:ext>
            </a:extLst>
          </p:cNvPr>
          <p:cNvSpPr/>
          <p:nvPr userDrawn="1"/>
        </p:nvSpPr>
        <p:spPr>
          <a:xfrm>
            <a:off x="0" y="1253067"/>
            <a:ext cx="2424360" cy="5604935"/>
          </a:xfrm>
          <a:custGeom>
            <a:avLst/>
            <a:gdLst>
              <a:gd name="connsiteX0" fmla="*/ 0 w 3572933"/>
              <a:gd name="connsiteY0" fmla="*/ 0 h 11209867"/>
              <a:gd name="connsiteX1" fmla="*/ 3572933 w 3572933"/>
              <a:gd name="connsiteY1" fmla="*/ 0 h 11209867"/>
              <a:gd name="connsiteX2" fmla="*/ 3572933 w 3572933"/>
              <a:gd name="connsiteY2" fmla="*/ 11209867 h 11209867"/>
              <a:gd name="connsiteX3" fmla="*/ 0 w 3572933"/>
              <a:gd name="connsiteY3" fmla="*/ 11209867 h 11209867"/>
              <a:gd name="connsiteX4" fmla="*/ 0 w 3572933"/>
              <a:gd name="connsiteY4" fmla="*/ 0 h 11209867"/>
              <a:gd name="connsiteX0" fmla="*/ 0 w 4842933"/>
              <a:gd name="connsiteY0" fmla="*/ 0 h 11209867"/>
              <a:gd name="connsiteX1" fmla="*/ 4842933 w 4842933"/>
              <a:gd name="connsiteY1" fmla="*/ 3708400 h 11209867"/>
              <a:gd name="connsiteX2" fmla="*/ 3572933 w 4842933"/>
              <a:gd name="connsiteY2" fmla="*/ 11209867 h 11209867"/>
              <a:gd name="connsiteX3" fmla="*/ 0 w 4842933"/>
              <a:gd name="connsiteY3" fmla="*/ 11209867 h 11209867"/>
              <a:gd name="connsiteX4" fmla="*/ 0 w 4842933"/>
              <a:gd name="connsiteY4" fmla="*/ 0 h 11209867"/>
              <a:gd name="connsiteX0" fmla="*/ 0 w 4842933"/>
              <a:gd name="connsiteY0" fmla="*/ 0 h 11209867"/>
              <a:gd name="connsiteX1" fmla="*/ 4572001 w 4842933"/>
              <a:gd name="connsiteY1" fmla="*/ 3471334 h 11209867"/>
              <a:gd name="connsiteX2" fmla="*/ 4842933 w 4842933"/>
              <a:gd name="connsiteY2" fmla="*/ 3708400 h 11209867"/>
              <a:gd name="connsiteX3" fmla="*/ 3572933 w 4842933"/>
              <a:gd name="connsiteY3" fmla="*/ 11209867 h 11209867"/>
              <a:gd name="connsiteX4" fmla="*/ 0 w 4842933"/>
              <a:gd name="connsiteY4" fmla="*/ 11209867 h 11209867"/>
              <a:gd name="connsiteX5" fmla="*/ 0 w 4842933"/>
              <a:gd name="connsiteY5" fmla="*/ 0 h 11209867"/>
              <a:gd name="connsiteX0" fmla="*/ 0 w 4842933"/>
              <a:gd name="connsiteY0" fmla="*/ 0 h 11209867"/>
              <a:gd name="connsiteX1" fmla="*/ 4588935 w 4842933"/>
              <a:gd name="connsiteY1" fmla="*/ 3183467 h 11209867"/>
              <a:gd name="connsiteX2" fmla="*/ 4842933 w 4842933"/>
              <a:gd name="connsiteY2" fmla="*/ 3708400 h 11209867"/>
              <a:gd name="connsiteX3" fmla="*/ 3572933 w 4842933"/>
              <a:gd name="connsiteY3" fmla="*/ 11209867 h 11209867"/>
              <a:gd name="connsiteX4" fmla="*/ 0 w 4842933"/>
              <a:gd name="connsiteY4" fmla="*/ 11209867 h 11209867"/>
              <a:gd name="connsiteX5" fmla="*/ 0 w 4842933"/>
              <a:gd name="connsiteY5" fmla="*/ 0 h 11209867"/>
              <a:gd name="connsiteX0" fmla="*/ 0 w 4844683"/>
              <a:gd name="connsiteY0" fmla="*/ 0 h 11209867"/>
              <a:gd name="connsiteX1" fmla="*/ 4588935 w 4844683"/>
              <a:gd name="connsiteY1" fmla="*/ 3183467 h 11209867"/>
              <a:gd name="connsiteX2" fmla="*/ 4842933 w 4844683"/>
              <a:gd name="connsiteY2" fmla="*/ 3708400 h 11209867"/>
              <a:gd name="connsiteX3" fmla="*/ 3572933 w 4844683"/>
              <a:gd name="connsiteY3" fmla="*/ 11209867 h 11209867"/>
              <a:gd name="connsiteX4" fmla="*/ 0 w 4844683"/>
              <a:gd name="connsiteY4" fmla="*/ 11209867 h 11209867"/>
              <a:gd name="connsiteX5" fmla="*/ 0 w 4844683"/>
              <a:gd name="connsiteY5" fmla="*/ 0 h 11209867"/>
              <a:gd name="connsiteX0" fmla="*/ 0 w 4846133"/>
              <a:gd name="connsiteY0" fmla="*/ 0 h 11209867"/>
              <a:gd name="connsiteX1" fmla="*/ 4588935 w 4846133"/>
              <a:gd name="connsiteY1" fmla="*/ 3183467 h 11209867"/>
              <a:gd name="connsiteX2" fmla="*/ 4842933 w 4846133"/>
              <a:gd name="connsiteY2" fmla="*/ 3708400 h 11209867"/>
              <a:gd name="connsiteX3" fmla="*/ 3572933 w 4846133"/>
              <a:gd name="connsiteY3" fmla="*/ 11209867 h 11209867"/>
              <a:gd name="connsiteX4" fmla="*/ 0 w 4846133"/>
              <a:gd name="connsiteY4" fmla="*/ 11209867 h 11209867"/>
              <a:gd name="connsiteX5" fmla="*/ 0 w 4846133"/>
              <a:gd name="connsiteY5" fmla="*/ 0 h 11209867"/>
              <a:gd name="connsiteX0" fmla="*/ 0 w 4847457"/>
              <a:gd name="connsiteY0" fmla="*/ 0 h 11209867"/>
              <a:gd name="connsiteX1" fmla="*/ 4588935 w 4847457"/>
              <a:gd name="connsiteY1" fmla="*/ 3183467 h 11209867"/>
              <a:gd name="connsiteX2" fmla="*/ 4842933 w 4847457"/>
              <a:gd name="connsiteY2" fmla="*/ 3708400 h 11209867"/>
              <a:gd name="connsiteX3" fmla="*/ 3572933 w 4847457"/>
              <a:gd name="connsiteY3" fmla="*/ 11209867 h 11209867"/>
              <a:gd name="connsiteX4" fmla="*/ 0 w 4847457"/>
              <a:gd name="connsiteY4" fmla="*/ 11209867 h 11209867"/>
              <a:gd name="connsiteX5" fmla="*/ 0 w 4847457"/>
              <a:gd name="connsiteY5" fmla="*/ 0 h 11209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47457" h="11209867">
                <a:moveTo>
                  <a:pt x="0" y="0"/>
                </a:moveTo>
                <a:lnTo>
                  <a:pt x="4588935" y="3183467"/>
                </a:lnTo>
                <a:cubicBezTo>
                  <a:pt x="4810761" y="3350825"/>
                  <a:pt x="4864947" y="3472462"/>
                  <a:pt x="4842933" y="3708400"/>
                </a:cubicBezTo>
                <a:lnTo>
                  <a:pt x="3572933" y="11209867"/>
                </a:lnTo>
                <a:lnTo>
                  <a:pt x="0" y="11209867"/>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900"/>
          </a:p>
        </p:txBody>
      </p:sp>
      <p:sp>
        <p:nvSpPr>
          <p:cNvPr id="26" name="Retângulo 4">
            <a:extLst>
              <a:ext uri="{FF2B5EF4-FFF2-40B4-BE49-F238E27FC236}">
                <a16:creationId xmlns:a16="http://schemas.microsoft.com/office/drawing/2014/main" id="{BA93661E-CB36-B2C0-D060-3E7223BD71D7}"/>
              </a:ext>
            </a:extLst>
          </p:cNvPr>
          <p:cNvSpPr/>
          <p:nvPr userDrawn="1"/>
        </p:nvSpPr>
        <p:spPr>
          <a:xfrm>
            <a:off x="1807" y="1438276"/>
            <a:ext cx="2355923" cy="5419725"/>
          </a:xfrm>
          <a:custGeom>
            <a:avLst/>
            <a:gdLst>
              <a:gd name="connsiteX0" fmla="*/ 0 w 4710618"/>
              <a:gd name="connsiteY0" fmla="*/ 0 h 10839450"/>
              <a:gd name="connsiteX1" fmla="*/ 4710618 w 4710618"/>
              <a:gd name="connsiteY1" fmla="*/ 0 h 10839450"/>
              <a:gd name="connsiteX2" fmla="*/ 4710618 w 4710618"/>
              <a:gd name="connsiteY2" fmla="*/ 10839450 h 10839450"/>
              <a:gd name="connsiteX3" fmla="*/ 0 w 4710618"/>
              <a:gd name="connsiteY3" fmla="*/ 10839450 h 10839450"/>
              <a:gd name="connsiteX4" fmla="*/ 0 w 4710618"/>
              <a:gd name="connsiteY4" fmla="*/ 0 h 10839450"/>
              <a:gd name="connsiteX0" fmla="*/ 0 w 4710618"/>
              <a:gd name="connsiteY0" fmla="*/ 0 h 10839450"/>
              <a:gd name="connsiteX1" fmla="*/ 3224718 w 4710618"/>
              <a:gd name="connsiteY1" fmla="*/ 1581150 h 10839450"/>
              <a:gd name="connsiteX2" fmla="*/ 4710618 w 4710618"/>
              <a:gd name="connsiteY2" fmla="*/ 10839450 h 10839450"/>
              <a:gd name="connsiteX3" fmla="*/ 0 w 4710618"/>
              <a:gd name="connsiteY3" fmla="*/ 10839450 h 10839450"/>
              <a:gd name="connsiteX4" fmla="*/ 0 w 4710618"/>
              <a:gd name="connsiteY4" fmla="*/ 0 h 10839450"/>
              <a:gd name="connsiteX0" fmla="*/ 0 w 4710618"/>
              <a:gd name="connsiteY0" fmla="*/ 0 h 10839450"/>
              <a:gd name="connsiteX1" fmla="*/ 3872418 w 4710618"/>
              <a:gd name="connsiteY1" fmla="*/ 1447800 h 10839450"/>
              <a:gd name="connsiteX2" fmla="*/ 4710618 w 4710618"/>
              <a:gd name="connsiteY2" fmla="*/ 10839450 h 10839450"/>
              <a:gd name="connsiteX3" fmla="*/ 0 w 4710618"/>
              <a:gd name="connsiteY3" fmla="*/ 10839450 h 10839450"/>
              <a:gd name="connsiteX4" fmla="*/ 0 w 4710618"/>
              <a:gd name="connsiteY4" fmla="*/ 0 h 10839450"/>
              <a:gd name="connsiteX0" fmla="*/ 0 w 4710618"/>
              <a:gd name="connsiteY0" fmla="*/ 0 h 10839450"/>
              <a:gd name="connsiteX1" fmla="*/ 3319968 w 4710618"/>
              <a:gd name="connsiteY1" fmla="*/ 1257300 h 10839450"/>
              <a:gd name="connsiteX2" fmla="*/ 3872418 w 4710618"/>
              <a:gd name="connsiteY2" fmla="*/ 1447800 h 10839450"/>
              <a:gd name="connsiteX3" fmla="*/ 4710618 w 4710618"/>
              <a:gd name="connsiteY3" fmla="*/ 10839450 h 10839450"/>
              <a:gd name="connsiteX4" fmla="*/ 0 w 4710618"/>
              <a:gd name="connsiteY4" fmla="*/ 10839450 h 10839450"/>
              <a:gd name="connsiteX5" fmla="*/ 0 w 4710618"/>
              <a:gd name="connsiteY5" fmla="*/ 0 h 10839450"/>
              <a:gd name="connsiteX0" fmla="*/ 0 w 4710618"/>
              <a:gd name="connsiteY0" fmla="*/ 0 h 10839450"/>
              <a:gd name="connsiteX1" fmla="*/ 3434268 w 4710618"/>
              <a:gd name="connsiteY1" fmla="*/ 1047750 h 10839450"/>
              <a:gd name="connsiteX2" fmla="*/ 3872418 w 4710618"/>
              <a:gd name="connsiteY2" fmla="*/ 1447800 h 10839450"/>
              <a:gd name="connsiteX3" fmla="*/ 4710618 w 4710618"/>
              <a:gd name="connsiteY3" fmla="*/ 10839450 h 10839450"/>
              <a:gd name="connsiteX4" fmla="*/ 0 w 4710618"/>
              <a:gd name="connsiteY4" fmla="*/ 10839450 h 10839450"/>
              <a:gd name="connsiteX5" fmla="*/ 0 w 4710618"/>
              <a:gd name="connsiteY5" fmla="*/ 0 h 10839450"/>
              <a:gd name="connsiteX0" fmla="*/ 0 w 4710618"/>
              <a:gd name="connsiteY0" fmla="*/ 0 h 10839450"/>
              <a:gd name="connsiteX1" fmla="*/ 3434268 w 4710618"/>
              <a:gd name="connsiteY1" fmla="*/ 1047750 h 10839450"/>
              <a:gd name="connsiteX2" fmla="*/ 3872418 w 4710618"/>
              <a:gd name="connsiteY2" fmla="*/ 1447800 h 10839450"/>
              <a:gd name="connsiteX3" fmla="*/ 4710618 w 4710618"/>
              <a:gd name="connsiteY3" fmla="*/ 10839450 h 10839450"/>
              <a:gd name="connsiteX4" fmla="*/ 0 w 4710618"/>
              <a:gd name="connsiteY4" fmla="*/ 10839450 h 10839450"/>
              <a:gd name="connsiteX5" fmla="*/ 0 w 4710618"/>
              <a:gd name="connsiteY5" fmla="*/ 0 h 10839450"/>
              <a:gd name="connsiteX0" fmla="*/ 0 w 4710618"/>
              <a:gd name="connsiteY0" fmla="*/ 0 h 10839450"/>
              <a:gd name="connsiteX1" fmla="*/ 3434268 w 4710618"/>
              <a:gd name="connsiteY1" fmla="*/ 1047750 h 10839450"/>
              <a:gd name="connsiteX2" fmla="*/ 3872418 w 4710618"/>
              <a:gd name="connsiteY2" fmla="*/ 1447800 h 10839450"/>
              <a:gd name="connsiteX3" fmla="*/ 4710618 w 4710618"/>
              <a:gd name="connsiteY3" fmla="*/ 10839450 h 10839450"/>
              <a:gd name="connsiteX4" fmla="*/ 0 w 4710618"/>
              <a:gd name="connsiteY4" fmla="*/ 10839450 h 10839450"/>
              <a:gd name="connsiteX5" fmla="*/ 0 w 4710618"/>
              <a:gd name="connsiteY5" fmla="*/ 0 h 10839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10618" h="10839450">
                <a:moveTo>
                  <a:pt x="0" y="0"/>
                </a:moveTo>
                <a:lnTo>
                  <a:pt x="3434268" y="1047750"/>
                </a:lnTo>
                <a:cubicBezTo>
                  <a:pt x="3679378" y="1158240"/>
                  <a:pt x="3833048" y="1268730"/>
                  <a:pt x="3872418" y="1447800"/>
                </a:cubicBezTo>
                <a:lnTo>
                  <a:pt x="4710618" y="10839450"/>
                </a:lnTo>
                <a:lnTo>
                  <a:pt x="0" y="10839450"/>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900"/>
          </a:p>
        </p:txBody>
      </p:sp>
      <p:sp>
        <p:nvSpPr>
          <p:cNvPr id="27" name="Retângulo 3">
            <a:extLst>
              <a:ext uri="{FF2B5EF4-FFF2-40B4-BE49-F238E27FC236}">
                <a16:creationId xmlns:a16="http://schemas.microsoft.com/office/drawing/2014/main" id="{A2105582-B5E7-DD46-9F35-927ED3CCA6F9}"/>
              </a:ext>
            </a:extLst>
          </p:cNvPr>
          <p:cNvSpPr/>
          <p:nvPr userDrawn="1"/>
        </p:nvSpPr>
        <p:spPr>
          <a:xfrm>
            <a:off x="0" y="1253067"/>
            <a:ext cx="2424360" cy="5604935"/>
          </a:xfrm>
          <a:custGeom>
            <a:avLst/>
            <a:gdLst>
              <a:gd name="connsiteX0" fmla="*/ 0 w 3572933"/>
              <a:gd name="connsiteY0" fmla="*/ 0 h 11209867"/>
              <a:gd name="connsiteX1" fmla="*/ 3572933 w 3572933"/>
              <a:gd name="connsiteY1" fmla="*/ 0 h 11209867"/>
              <a:gd name="connsiteX2" fmla="*/ 3572933 w 3572933"/>
              <a:gd name="connsiteY2" fmla="*/ 11209867 h 11209867"/>
              <a:gd name="connsiteX3" fmla="*/ 0 w 3572933"/>
              <a:gd name="connsiteY3" fmla="*/ 11209867 h 11209867"/>
              <a:gd name="connsiteX4" fmla="*/ 0 w 3572933"/>
              <a:gd name="connsiteY4" fmla="*/ 0 h 11209867"/>
              <a:gd name="connsiteX0" fmla="*/ 0 w 4842933"/>
              <a:gd name="connsiteY0" fmla="*/ 0 h 11209867"/>
              <a:gd name="connsiteX1" fmla="*/ 4842933 w 4842933"/>
              <a:gd name="connsiteY1" fmla="*/ 3708400 h 11209867"/>
              <a:gd name="connsiteX2" fmla="*/ 3572933 w 4842933"/>
              <a:gd name="connsiteY2" fmla="*/ 11209867 h 11209867"/>
              <a:gd name="connsiteX3" fmla="*/ 0 w 4842933"/>
              <a:gd name="connsiteY3" fmla="*/ 11209867 h 11209867"/>
              <a:gd name="connsiteX4" fmla="*/ 0 w 4842933"/>
              <a:gd name="connsiteY4" fmla="*/ 0 h 11209867"/>
              <a:gd name="connsiteX0" fmla="*/ 0 w 4842933"/>
              <a:gd name="connsiteY0" fmla="*/ 0 h 11209867"/>
              <a:gd name="connsiteX1" fmla="*/ 4572001 w 4842933"/>
              <a:gd name="connsiteY1" fmla="*/ 3471334 h 11209867"/>
              <a:gd name="connsiteX2" fmla="*/ 4842933 w 4842933"/>
              <a:gd name="connsiteY2" fmla="*/ 3708400 h 11209867"/>
              <a:gd name="connsiteX3" fmla="*/ 3572933 w 4842933"/>
              <a:gd name="connsiteY3" fmla="*/ 11209867 h 11209867"/>
              <a:gd name="connsiteX4" fmla="*/ 0 w 4842933"/>
              <a:gd name="connsiteY4" fmla="*/ 11209867 h 11209867"/>
              <a:gd name="connsiteX5" fmla="*/ 0 w 4842933"/>
              <a:gd name="connsiteY5" fmla="*/ 0 h 11209867"/>
              <a:gd name="connsiteX0" fmla="*/ 0 w 4842933"/>
              <a:gd name="connsiteY0" fmla="*/ 0 h 11209867"/>
              <a:gd name="connsiteX1" fmla="*/ 4588935 w 4842933"/>
              <a:gd name="connsiteY1" fmla="*/ 3183467 h 11209867"/>
              <a:gd name="connsiteX2" fmla="*/ 4842933 w 4842933"/>
              <a:gd name="connsiteY2" fmla="*/ 3708400 h 11209867"/>
              <a:gd name="connsiteX3" fmla="*/ 3572933 w 4842933"/>
              <a:gd name="connsiteY3" fmla="*/ 11209867 h 11209867"/>
              <a:gd name="connsiteX4" fmla="*/ 0 w 4842933"/>
              <a:gd name="connsiteY4" fmla="*/ 11209867 h 11209867"/>
              <a:gd name="connsiteX5" fmla="*/ 0 w 4842933"/>
              <a:gd name="connsiteY5" fmla="*/ 0 h 11209867"/>
              <a:gd name="connsiteX0" fmla="*/ 0 w 4844683"/>
              <a:gd name="connsiteY0" fmla="*/ 0 h 11209867"/>
              <a:gd name="connsiteX1" fmla="*/ 4588935 w 4844683"/>
              <a:gd name="connsiteY1" fmla="*/ 3183467 h 11209867"/>
              <a:gd name="connsiteX2" fmla="*/ 4842933 w 4844683"/>
              <a:gd name="connsiteY2" fmla="*/ 3708400 h 11209867"/>
              <a:gd name="connsiteX3" fmla="*/ 3572933 w 4844683"/>
              <a:gd name="connsiteY3" fmla="*/ 11209867 h 11209867"/>
              <a:gd name="connsiteX4" fmla="*/ 0 w 4844683"/>
              <a:gd name="connsiteY4" fmla="*/ 11209867 h 11209867"/>
              <a:gd name="connsiteX5" fmla="*/ 0 w 4844683"/>
              <a:gd name="connsiteY5" fmla="*/ 0 h 11209867"/>
              <a:gd name="connsiteX0" fmla="*/ 0 w 4846133"/>
              <a:gd name="connsiteY0" fmla="*/ 0 h 11209867"/>
              <a:gd name="connsiteX1" fmla="*/ 4588935 w 4846133"/>
              <a:gd name="connsiteY1" fmla="*/ 3183467 h 11209867"/>
              <a:gd name="connsiteX2" fmla="*/ 4842933 w 4846133"/>
              <a:gd name="connsiteY2" fmla="*/ 3708400 h 11209867"/>
              <a:gd name="connsiteX3" fmla="*/ 3572933 w 4846133"/>
              <a:gd name="connsiteY3" fmla="*/ 11209867 h 11209867"/>
              <a:gd name="connsiteX4" fmla="*/ 0 w 4846133"/>
              <a:gd name="connsiteY4" fmla="*/ 11209867 h 11209867"/>
              <a:gd name="connsiteX5" fmla="*/ 0 w 4846133"/>
              <a:gd name="connsiteY5" fmla="*/ 0 h 11209867"/>
              <a:gd name="connsiteX0" fmla="*/ 0 w 4847457"/>
              <a:gd name="connsiteY0" fmla="*/ 0 h 11209867"/>
              <a:gd name="connsiteX1" fmla="*/ 4588935 w 4847457"/>
              <a:gd name="connsiteY1" fmla="*/ 3183467 h 11209867"/>
              <a:gd name="connsiteX2" fmla="*/ 4842933 w 4847457"/>
              <a:gd name="connsiteY2" fmla="*/ 3708400 h 11209867"/>
              <a:gd name="connsiteX3" fmla="*/ 3572933 w 4847457"/>
              <a:gd name="connsiteY3" fmla="*/ 11209867 h 11209867"/>
              <a:gd name="connsiteX4" fmla="*/ 0 w 4847457"/>
              <a:gd name="connsiteY4" fmla="*/ 11209867 h 11209867"/>
              <a:gd name="connsiteX5" fmla="*/ 0 w 4847457"/>
              <a:gd name="connsiteY5" fmla="*/ 0 h 11209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47457" h="11209867">
                <a:moveTo>
                  <a:pt x="0" y="0"/>
                </a:moveTo>
                <a:lnTo>
                  <a:pt x="4588935" y="3183467"/>
                </a:lnTo>
                <a:cubicBezTo>
                  <a:pt x="4810761" y="3350825"/>
                  <a:pt x="4864947" y="3472462"/>
                  <a:pt x="4842933" y="3708400"/>
                </a:cubicBezTo>
                <a:lnTo>
                  <a:pt x="3572933" y="11209867"/>
                </a:lnTo>
                <a:lnTo>
                  <a:pt x="0" y="11209867"/>
                </a:lnTo>
                <a:lnTo>
                  <a:pt x="0" y="0"/>
                </a:lnTo>
                <a:close/>
              </a:path>
            </a:pathLst>
          </a:custGeom>
          <a:solidFill>
            <a:srgbClr val="0076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900"/>
          </a:p>
        </p:txBody>
      </p:sp>
      <p:sp>
        <p:nvSpPr>
          <p:cNvPr id="28" name="CaixaDeTexto 27">
            <a:extLst>
              <a:ext uri="{FF2B5EF4-FFF2-40B4-BE49-F238E27FC236}">
                <a16:creationId xmlns:a16="http://schemas.microsoft.com/office/drawing/2014/main" id="{A4165A7B-88F0-A75B-9B8C-3CBC3B1DE129}"/>
              </a:ext>
            </a:extLst>
          </p:cNvPr>
          <p:cNvSpPr txBox="1"/>
          <p:nvPr userDrawn="1"/>
        </p:nvSpPr>
        <p:spPr>
          <a:xfrm>
            <a:off x="655522" y="3641503"/>
            <a:ext cx="1484621" cy="420756"/>
          </a:xfrm>
          <a:prstGeom prst="rect">
            <a:avLst/>
          </a:prstGeom>
          <a:noFill/>
        </p:spPr>
        <p:txBody>
          <a:bodyPr wrap="square" rtlCol="0">
            <a:spAutoFit/>
          </a:bodyPr>
          <a:lstStyle/>
          <a:p>
            <a:r>
              <a:rPr lang="pt-BR" sz="1067" dirty="0">
                <a:solidFill>
                  <a:schemeClr val="bg1"/>
                </a:solidFill>
                <a:latin typeface="Trebuchet MS" panose="020B0603020202020204" pitchFamily="34" charset="0"/>
              </a:rPr>
              <a:t>Oleoduto de Petróleo</a:t>
            </a:r>
          </a:p>
        </p:txBody>
      </p:sp>
      <p:sp>
        <p:nvSpPr>
          <p:cNvPr id="30" name="CaixaDeTexto 29">
            <a:extLst>
              <a:ext uri="{FF2B5EF4-FFF2-40B4-BE49-F238E27FC236}">
                <a16:creationId xmlns:a16="http://schemas.microsoft.com/office/drawing/2014/main" id="{1FB37F8B-FD21-4B91-A325-6B76FEE02E20}"/>
              </a:ext>
            </a:extLst>
          </p:cNvPr>
          <p:cNvSpPr txBox="1"/>
          <p:nvPr userDrawn="1"/>
        </p:nvSpPr>
        <p:spPr>
          <a:xfrm>
            <a:off x="666830" y="3984571"/>
            <a:ext cx="1515567" cy="420756"/>
          </a:xfrm>
          <a:prstGeom prst="rect">
            <a:avLst/>
          </a:prstGeom>
          <a:noFill/>
        </p:spPr>
        <p:txBody>
          <a:bodyPr wrap="square" rtlCol="0">
            <a:spAutoFit/>
          </a:bodyPr>
          <a:lstStyle/>
          <a:p>
            <a:r>
              <a:rPr lang="pt-BR" sz="1067" dirty="0">
                <a:solidFill>
                  <a:schemeClr val="bg1"/>
                </a:solidFill>
                <a:latin typeface="Trebuchet MS" panose="020B0603020202020204" pitchFamily="34" charset="0"/>
              </a:rPr>
              <a:t>Oleoduto de Derivados</a:t>
            </a:r>
          </a:p>
        </p:txBody>
      </p:sp>
      <p:pic>
        <p:nvPicPr>
          <p:cNvPr id="31" name="Imagem 30">
            <a:extLst>
              <a:ext uri="{FF2B5EF4-FFF2-40B4-BE49-F238E27FC236}">
                <a16:creationId xmlns:a16="http://schemas.microsoft.com/office/drawing/2014/main" id="{EBC81C6C-B756-A829-68F3-AA57D8FF9B5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85627" y="3601732"/>
            <a:ext cx="469895" cy="289827"/>
          </a:xfrm>
          <a:prstGeom prst="rect">
            <a:avLst/>
          </a:prstGeom>
        </p:spPr>
      </p:pic>
      <p:pic>
        <p:nvPicPr>
          <p:cNvPr id="32" name="Imagem 31">
            <a:extLst>
              <a:ext uri="{FF2B5EF4-FFF2-40B4-BE49-F238E27FC236}">
                <a16:creationId xmlns:a16="http://schemas.microsoft.com/office/drawing/2014/main" id="{50020F84-D7BD-A7D2-AC28-5C2A4D5B2C15}"/>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57440" y="3958624"/>
            <a:ext cx="527307" cy="293059"/>
          </a:xfrm>
          <a:prstGeom prst="rect">
            <a:avLst/>
          </a:prstGeom>
        </p:spPr>
      </p:pic>
      <p:sp>
        <p:nvSpPr>
          <p:cNvPr id="34" name="CaixaDeTexto 33">
            <a:extLst>
              <a:ext uri="{FF2B5EF4-FFF2-40B4-BE49-F238E27FC236}">
                <a16:creationId xmlns:a16="http://schemas.microsoft.com/office/drawing/2014/main" id="{F2A56944-8D32-6788-6B0F-A7E124ADBC7C}"/>
              </a:ext>
            </a:extLst>
          </p:cNvPr>
          <p:cNvSpPr txBox="1"/>
          <p:nvPr userDrawn="1"/>
        </p:nvSpPr>
        <p:spPr>
          <a:xfrm>
            <a:off x="143340" y="2176610"/>
            <a:ext cx="2112235" cy="666977"/>
          </a:xfrm>
          <a:prstGeom prst="rect">
            <a:avLst/>
          </a:prstGeom>
          <a:noFill/>
        </p:spPr>
        <p:txBody>
          <a:bodyPr wrap="square" rtlCol="0">
            <a:spAutoFit/>
          </a:bodyPr>
          <a:lstStyle/>
          <a:p>
            <a:r>
              <a:rPr lang="pt-BR" sz="1867" i="1">
                <a:solidFill>
                  <a:schemeClr val="bg1"/>
                </a:solidFill>
                <a:latin typeface="Trebuchet MS" panose="020B0603020202020204" pitchFamily="34" charset="0"/>
              </a:rPr>
              <a:t>Malha </a:t>
            </a:r>
          </a:p>
          <a:p>
            <a:r>
              <a:rPr lang="pt-BR" sz="1867" i="1">
                <a:solidFill>
                  <a:schemeClr val="bg1"/>
                </a:solidFill>
                <a:latin typeface="Trebuchet MS" panose="020B0603020202020204" pitchFamily="34" charset="0"/>
              </a:rPr>
              <a:t>Logística</a:t>
            </a:r>
          </a:p>
        </p:txBody>
      </p:sp>
      <p:pic>
        <p:nvPicPr>
          <p:cNvPr id="35" name="Imagem 34">
            <a:extLst>
              <a:ext uri="{FF2B5EF4-FFF2-40B4-BE49-F238E27FC236}">
                <a16:creationId xmlns:a16="http://schemas.microsoft.com/office/drawing/2014/main" id="{92DCEAA2-FFD8-FFB5-B8B8-1E373812917A}"/>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16557" y="4582376"/>
            <a:ext cx="527307" cy="553267"/>
          </a:xfrm>
          <a:prstGeom prst="rect">
            <a:avLst/>
          </a:prstGeom>
        </p:spPr>
      </p:pic>
      <p:pic>
        <p:nvPicPr>
          <p:cNvPr id="36" name="Imagem 35">
            <a:extLst>
              <a:ext uri="{FF2B5EF4-FFF2-40B4-BE49-F238E27FC236}">
                <a16:creationId xmlns:a16="http://schemas.microsoft.com/office/drawing/2014/main" id="{EC90FFDE-F2BD-7ADE-EA8B-E71BB20AE16C}"/>
              </a:ext>
            </a:extLst>
          </p:cNvPr>
          <p:cNvPicPr/>
          <p:nvPr userDrawn="1"/>
        </p:nvPicPr>
        <p:blipFill>
          <a:blip r:embed="rId6" cstate="print">
            <a:extLst>
              <a:ext uri="{28A0092B-C50C-407E-A947-70E740481C1C}">
                <a14:useLocalDpi xmlns:a14="http://schemas.microsoft.com/office/drawing/2010/main" val="0"/>
              </a:ext>
            </a:extLst>
          </a:blip>
          <a:stretch>
            <a:fillRect/>
          </a:stretch>
        </p:blipFill>
        <p:spPr>
          <a:xfrm>
            <a:off x="151601" y="5129489"/>
            <a:ext cx="475459" cy="500063"/>
          </a:xfrm>
          <a:prstGeom prst="ellipse">
            <a:avLst/>
          </a:prstGeom>
        </p:spPr>
      </p:pic>
      <p:pic>
        <p:nvPicPr>
          <p:cNvPr id="39" name="Imagem 38">
            <a:extLst>
              <a:ext uri="{FF2B5EF4-FFF2-40B4-BE49-F238E27FC236}">
                <a16:creationId xmlns:a16="http://schemas.microsoft.com/office/drawing/2014/main" id="{9D84C838-6911-B7C4-4606-FBAC59EDB1FB}"/>
              </a:ext>
            </a:extLst>
          </p:cNvPr>
          <p:cNvPicPr/>
          <p:nvPr userDrawn="1"/>
        </p:nvPicPr>
        <p:blipFill rotWithShape="1">
          <a:blip r:embed="rId7" cstate="print">
            <a:extLst>
              <a:ext uri="{28A0092B-C50C-407E-A947-70E740481C1C}">
                <a14:useLocalDpi xmlns:a14="http://schemas.microsoft.com/office/drawing/2010/main" val="0"/>
              </a:ext>
            </a:extLst>
          </a:blip>
          <a:srcRect/>
          <a:stretch/>
        </p:blipFill>
        <p:spPr>
          <a:xfrm>
            <a:off x="122482" y="5663924"/>
            <a:ext cx="482916" cy="494744"/>
          </a:xfrm>
          <a:prstGeom prst="ellipse">
            <a:avLst/>
          </a:prstGeom>
        </p:spPr>
      </p:pic>
      <p:pic>
        <p:nvPicPr>
          <p:cNvPr id="41" name="Imagem 40">
            <a:extLst>
              <a:ext uri="{FF2B5EF4-FFF2-40B4-BE49-F238E27FC236}">
                <a16:creationId xmlns:a16="http://schemas.microsoft.com/office/drawing/2014/main" id="{FDBC96D5-5E8C-D6C1-4413-C244806BFF1D}"/>
              </a:ext>
            </a:extLst>
          </p:cNvPr>
          <p:cNvPicPr/>
          <p:nvPr userDrawn="1"/>
        </p:nvPicPr>
        <p:blipFill>
          <a:blip r:embed="rId8">
            <a:extLst>
              <a:ext uri="{28A0092B-C50C-407E-A947-70E740481C1C}">
                <a14:useLocalDpi xmlns:a14="http://schemas.microsoft.com/office/drawing/2010/main" val="0"/>
              </a:ext>
            </a:extLst>
          </a:blip>
          <a:stretch>
            <a:fillRect/>
          </a:stretch>
        </p:blipFill>
        <p:spPr>
          <a:xfrm>
            <a:off x="122482" y="6208763"/>
            <a:ext cx="521383" cy="514351"/>
          </a:xfrm>
          <a:prstGeom prst="ellipse">
            <a:avLst/>
          </a:prstGeom>
        </p:spPr>
      </p:pic>
      <p:sp>
        <p:nvSpPr>
          <p:cNvPr id="43" name="CaixaDeTexto 42">
            <a:extLst>
              <a:ext uri="{FF2B5EF4-FFF2-40B4-BE49-F238E27FC236}">
                <a16:creationId xmlns:a16="http://schemas.microsoft.com/office/drawing/2014/main" id="{E0EEE1F8-6022-E8FE-B0A3-6F8297873B49}"/>
              </a:ext>
            </a:extLst>
          </p:cNvPr>
          <p:cNvSpPr txBox="1"/>
          <p:nvPr userDrawn="1"/>
        </p:nvSpPr>
        <p:spPr>
          <a:xfrm>
            <a:off x="643865" y="4719480"/>
            <a:ext cx="954785" cy="256545"/>
          </a:xfrm>
          <a:prstGeom prst="rect">
            <a:avLst/>
          </a:prstGeom>
          <a:noFill/>
        </p:spPr>
        <p:txBody>
          <a:bodyPr wrap="square" rtlCol="0">
            <a:spAutoFit/>
          </a:bodyPr>
          <a:lstStyle/>
          <a:p>
            <a:r>
              <a:rPr lang="pt-BR" sz="1067">
                <a:solidFill>
                  <a:schemeClr val="bg1"/>
                </a:solidFill>
                <a:latin typeface="Trebuchet MS" panose="020B0603020202020204" pitchFamily="34" charset="0"/>
              </a:rPr>
              <a:t>Terminais</a:t>
            </a:r>
          </a:p>
        </p:txBody>
      </p:sp>
      <p:sp>
        <p:nvSpPr>
          <p:cNvPr id="44" name="CaixaDeTexto 43">
            <a:extLst>
              <a:ext uri="{FF2B5EF4-FFF2-40B4-BE49-F238E27FC236}">
                <a16:creationId xmlns:a16="http://schemas.microsoft.com/office/drawing/2014/main" id="{45A1FC58-47FF-ACB9-B740-E8B964609BA6}"/>
              </a:ext>
            </a:extLst>
          </p:cNvPr>
          <p:cNvSpPr txBox="1"/>
          <p:nvPr userDrawn="1"/>
        </p:nvSpPr>
        <p:spPr>
          <a:xfrm>
            <a:off x="666831" y="5265181"/>
            <a:ext cx="1143163" cy="256545"/>
          </a:xfrm>
          <a:prstGeom prst="rect">
            <a:avLst/>
          </a:prstGeom>
          <a:noFill/>
        </p:spPr>
        <p:txBody>
          <a:bodyPr wrap="square" rtlCol="0">
            <a:spAutoFit/>
          </a:bodyPr>
          <a:lstStyle/>
          <a:p>
            <a:r>
              <a:rPr lang="pt-BR" sz="1067">
                <a:solidFill>
                  <a:schemeClr val="bg1"/>
                </a:solidFill>
                <a:latin typeface="Trebuchet MS" panose="020B0603020202020204" pitchFamily="34" charset="0"/>
              </a:rPr>
              <a:t>Refinarias</a:t>
            </a:r>
          </a:p>
        </p:txBody>
      </p:sp>
      <p:sp>
        <p:nvSpPr>
          <p:cNvPr id="45" name="CaixaDeTexto 44">
            <a:extLst>
              <a:ext uri="{FF2B5EF4-FFF2-40B4-BE49-F238E27FC236}">
                <a16:creationId xmlns:a16="http://schemas.microsoft.com/office/drawing/2014/main" id="{41A6AF62-B14D-AD31-E475-B5415BEA7979}"/>
              </a:ext>
            </a:extLst>
          </p:cNvPr>
          <p:cNvSpPr txBox="1"/>
          <p:nvPr userDrawn="1"/>
        </p:nvSpPr>
        <p:spPr>
          <a:xfrm>
            <a:off x="676525" y="5806155"/>
            <a:ext cx="1123775" cy="256545"/>
          </a:xfrm>
          <a:prstGeom prst="rect">
            <a:avLst/>
          </a:prstGeom>
          <a:noFill/>
        </p:spPr>
        <p:txBody>
          <a:bodyPr wrap="square" rtlCol="0">
            <a:spAutoFit/>
          </a:bodyPr>
          <a:lstStyle/>
          <a:p>
            <a:r>
              <a:rPr lang="pt-BR" sz="1067">
                <a:solidFill>
                  <a:schemeClr val="bg1"/>
                </a:solidFill>
                <a:latin typeface="Trebuchet MS" panose="020B0603020202020204" pitchFamily="34" charset="0"/>
              </a:rPr>
              <a:t>Distribuidoras</a:t>
            </a:r>
          </a:p>
        </p:txBody>
      </p:sp>
      <p:sp>
        <p:nvSpPr>
          <p:cNvPr id="46" name="CaixaDeTexto 45">
            <a:extLst>
              <a:ext uri="{FF2B5EF4-FFF2-40B4-BE49-F238E27FC236}">
                <a16:creationId xmlns:a16="http://schemas.microsoft.com/office/drawing/2014/main" id="{9AF1F283-2550-3F91-F0A1-8C34C5FD1203}"/>
              </a:ext>
            </a:extLst>
          </p:cNvPr>
          <p:cNvSpPr txBox="1"/>
          <p:nvPr userDrawn="1"/>
        </p:nvSpPr>
        <p:spPr>
          <a:xfrm>
            <a:off x="676126" y="6343391"/>
            <a:ext cx="1025393" cy="256545"/>
          </a:xfrm>
          <a:prstGeom prst="rect">
            <a:avLst/>
          </a:prstGeom>
          <a:noFill/>
        </p:spPr>
        <p:txBody>
          <a:bodyPr wrap="square" rtlCol="0">
            <a:spAutoFit/>
          </a:bodyPr>
          <a:lstStyle/>
          <a:p>
            <a:r>
              <a:rPr lang="pt-BR" sz="1067">
                <a:solidFill>
                  <a:schemeClr val="bg1"/>
                </a:solidFill>
                <a:latin typeface="Trebuchet MS" panose="020B0603020202020204" pitchFamily="34" charset="0"/>
              </a:rPr>
              <a:t>Estações</a:t>
            </a:r>
          </a:p>
        </p:txBody>
      </p:sp>
      <p:sp>
        <p:nvSpPr>
          <p:cNvPr id="47" name="CaixaDeTexto 46">
            <a:extLst>
              <a:ext uri="{FF2B5EF4-FFF2-40B4-BE49-F238E27FC236}">
                <a16:creationId xmlns:a16="http://schemas.microsoft.com/office/drawing/2014/main" id="{520F3A3A-6941-580A-6E93-404D8849ECF3}"/>
              </a:ext>
            </a:extLst>
          </p:cNvPr>
          <p:cNvSpPr txBox="1"/>
          <p:nvPr userDrawn="1"/>
        </p:nvSpPr>
        <p:spPr>
          <a:xfrm>
            <a:off x="133714" y="2828837"/>
            <a:ext cx="1464935" cy="369332"/>
          </a:xfrm>
          <a:prstGeom prst="rect">
            <a:avLst/>
          </a:prstGeom>
          <a:noFill/>
        </p:spPr>
        <p:txBody>
          <a:bodyPr wrap="square" rtlCol="0">
            <a:spAutoFit/>
          </a:bodyPr>
          <a:lstStyle/>
          <a:p>
            <a:pPr defTabSz="1218835"/>
            <a:r>
              <a:rPr lang="pt-BR" sz="1800" b="1" dirty="0">
                <a:solidFill>
                  <a:srgbClr val="FFC000"/>
                </a:solidFill>
                <a:latin typeface="Calibri" panose="020F0502020204030204"/>
              </a:rPr>
              <a:t>São Paulo</a:t>
            </a:r>
          </a:p>
        </p:txBody>
      </p:sp>
      <p:sp>
        <p:nvSpPr>
          <p:cNvPr id="48" name="CaixaDeTexto 47">
            <a:extLst>
              <a:ext uri="{FF2B5EF4-FFF2-40B4-BE49-F238E27FC236}">
                <a16:creationId xmlns:a16="http://schemas.microsoft.com/office/drawing/2014/main" id="{3AEB0F00-E753-C683-2ED9-C627687DF57A}"/>
              </a:ext>
            </a:extLst>
          </p:cNvPr>
          <p:cNvSpPr txBox="1"/>
          <p:nvPr userDrawn="1"/>
        </p:nvSpPr>
        <p:spPr>
          <a:xfrm>
            <a:off x="231640" y="871399"/>
            <a:ext cx="468398" cy="177100"/>
          </a:xfrm>
          <a:prstGeom prst="rect">
            <a:avLst/>
          </a:prstGeom>
          <a:noFill/>
        </p:spPr>
        <p:txBody>
          <a:bodyPr wrap="none" rtlCol="0">
            <a:spAutoFit/>
          </a:bodyPr>
          <a:lstStyle/>
          <a:p>
            <a:r>
              <a:rPr lang="pt-BR" sz="551">
                <a:solidFill>
                  <a:srgbClr val="383637"/>
                </a:solidFill>
              </a:rPr>
              <a:t>Terminal</a:t>
            </a:r>
          </a:p>
        </p:txBody>
      </p:sp>
      <p:sp>
        <p:nvSpPr>
          <p:cNvPr id="4" name="Elipse 3">
            <a:extLst>
              <a:ext uri="{FF2B5EF4-FFF2-40B4-BE49-F238E27FC236}">
                <a16:creationId xmlns:a16="http://schemas.microsoft.com/office/drawing/2014/main" id="{E1FC63FC-8CEB-1DA0-10CA-98C8E47FCBC4}"/>
              </a:ext>
            </a:extLst>
          </p:cNvPr>
          <p:cNvSpPr/>
          <p:nvPr userDrawn="1"/>
        </p:nvSpPr>
        <p:spPr>
          <a:xfrm>
            <a:off x="11294400" y="6025857"/>
            <a:ext cx="653893" cy="65372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800" b="1"/>
              <a:t>I</a:t>
            </a:r>
          </a:p>
        </p:txBody>
      </p:sp>
    </p:spTree>
    <p:extLst>
      <p:ext uri="{BB962C8B-B14F-4D97-AF65-F5344CB8AC3E}">
        <p14:creationId xmlns:p14="http://schemas.microsoft.com/office/powerpoint/2010/main" val="163623603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Layout Personalizado">
    <p:spTree>
      <p:nvGrpSpPr>
        <p:cNvPr id="1" name=""/>
        <p:cNvGrpSpPr/>
        <p:nvPr/>
      </p:nvGrpSpPr>
      <p:grpSpPr>
        <a:xfrm>
          <a:off x="0" y="0"/>
          <a:ext cx="0" cy="0"/>
          <a:chOff x="0" y="0"/>
          <a:chExt cx="0" cy="0"/>
        </a:xfrm>
      </p:grpSpPr>
      <p:sp>
        <p:nvSpPr>
          <p:cNvPr id="4" name="CaixaDeTexto 3"/>
          <p:cNvSpPr txBox="1"/>
          <p:nvPr userDrawn="1"/>
        </p:nvSpPr>
        <p:spPr>
          <a:xfrm>
            <a:off x="11636033" y="55987"/>
            <a:ext cx="363137" cy="369332"/>
          </a:xfrm>
          <a:prstGeom prst="rect">
            <a:avLst/>
          </a:prstGeom>
          <a:solidFill>
            <a:schemeClr val="bg1"/>
          </a:solidFill>
        </p:spPr>
        <p:txBody>
          <a:bodyPr wrap="square" rtlCol="0">
            <a:spAutoFit/>
          </a:bodyPr>
          <a:lstStyle/>
          <a:p>
            <a:endParaRPr lang="en-US" sz="1800" dirty="0"/>
          </a:p>
        </p:txBody>
      </p:sp>
      <p:pic>
        <p:nvPicPr>
          <p:cNvPr id="5" name="Imagem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16" y="0"/>
            <a:ext cx="12189293" cy="6858000"/>
          </a:xfrm>
          <a:prstGeom prst="rect">
            <a:avLst/>
          </a:prstGeom>
        </p:spPr>
      </p:pic>
      <p:sp>
        <p:nvSpPr>
          <p:cNvPr id="2" name="Elipse 1">
            <a:extLst>
              <a:ext uri="{FF2B5EF4-FFF2-40B4-BE49-F238E27FC236}">
                <a16:creationId xmlns:a16="http://schemas.microsoft.com/office/drawing/2014/main" id="{A8DB6101-25AB-3E31-23AA-E998DE3F9442}"/>
              </a:ext>
            </a:extLst>
          </p:cNvPr>
          <p:cNvSpPr/>
          <p:nvPr userDrawn="1"/>
        </p:nvSpPr>
        <p:spPr>
          <a:xfrm>
            <a:off x="11294400" y="6025857"/>
            <a:ext cx="653893" cy="65372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800" b="1"/>
              <a:t>I</a:t>
            </a:r>
          </a:p>
        </p:txBody>
      </p:sp>
    </p:spTree>
    <p:extLst>
      <p:ext uri="{BB962C8B-B14F-4D97-AF65-F5344CB8AC3E}">
        <p14:creationId xmlns:p14="http://schemas.microsoft.com/office/powerpoint/2010/main" val="4089967287"/>
      </p:ext>
    </p:extLst>
  </p:cSld>
  <p:clrMapOvr>
    <a:masterClrMapping/>
  </p:clrMapOvr>
  <p:transition spd="med">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_Layout Personalizado">
    <p:spTree>
      <p:nvGrpSpPr>
        <p:cNvPr id="1" name=""/>
        <p:cNvGrpSpPr/>
        <p:nvPr/>
      </p:nvGrpSpPr>
      <p:grpSpPr>
        <a:xfrm>
          <a:off x="0" y="0"/>
          <a:ext cx="0" cy="0"/>
          <a:chOff x="0" y="0"/>
          <a:chExt cx="0" cy="0"/>
        </a:xfrm>
      </p:grpSpPr>
      <p:pic>
        <p:nvPicPr>
          <p:cNvPr id="3" name="Imagem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255"/>
            <a:ext cx="12192000" cy="6857747"/>
          </a:xfrm>
          <a:prstGeom prst="rect">
            <a:avLst/>
          </a:prstGeom>
        </p:spPr>
      </p:pic>
      <p:sp>
        <p:nvSpPr>
          <p:cNvPr id="2" name="Elipse 1">
            <a:extLst>
              <a:ext uri="{FF2B5EF4-FFF2-40B4-BE49-F238E27FC236}">
                <a16:creationId xmlns:a16="http://schemas.microsoft.com/office/drawing/2014/main" id="{4FB7E48D-DA23-8911-0FBB-0AB4DDA3064F}"/>
              </a:ext>
            </a:extLst>
          </p:cNvPr>
          <p:cNvSpPr/>
          <p:nvPr userDrawn="1"/>
        </p:nvSpPr>
        <p:spPr>
          <a:xfrm>
            <a:off x="11294400" y="6025856"/>
            <a:ext cx="645787" cy="645619"/>
          </a:xfrm>
          <a:prstGeom prst="ellipse">
            <a:avLst/>
          </a:prstGeom>
          <a:solidFill>
            <a:srgbClr val="FDC8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800" b="1">
                <a:solidFill>
                  <a:srgbClr val="00619D"/>
                </a:solidFill>
              </a:rPr>
              <a:t>C</a:t>
            </a:r>
          </a:p>
        </p:txBody>
      </p:sp>
      <p:sp>
        <p:nvSpPr>
          <p:cNvPr id="4" name="Retângulo 22">
            <a:extLst>
              <a:ext uri="{FF2B5EF4-FFF2-40B4-BE49-F238E27FC236}">
                <a16:creationId xmlns:a16="http://schemas.microsoft.com/office/drawing/2014/main" id="{9D0C7E94-9AE6-065B-EC82-6F3DDACC78E4}"/>
              </a:ext>
            </a:extLst>
          </p:cNvPr>
          <p:cNvSpPr/>
          <p:nvPr userDrawn="1"/>
        </p:nvSpPr>
        <p:spPr>
          <a:xfrm>
            <a:off x="2" y="4881717"/>
            <a:ext cx="3767439" cy="2012571"/>
          </a:xfrm>
          <a:custGeom>
            <a:avLst/>
            <a:gdLst>
              <a:gd name="connsiteX0" fmla="*/ 0 w 7141029"/>
              <a:gd name="connsiteY0" fmla="*/ 0 h 3952568"/>
              <a:gd name="connsiteX1" fmla="*/ 7141029 w 7141029"/>
              <a:gd name="connsiteY1" fmla="*/ 0 h 3952568"/>
              <a:gd name="connsiteX2" fmla="*/ 7141029 w 7141029"/>
              <a:gd name="connsiteY2" fmla="*/ 3952568 h 3952568"/>
              <a:gd name="connsiteX3" fmla="*/ 0 w 7141029"/>
              <a:gd name="connsiteY3" fmla="*/ 3952568 h 3952568"/>
              <a:gd name="connsiteX4" fmla="*/ 0 w 7141029"/>
              <a:gd name="connsiteY4" fmla="*/ 0 h 3952568"/>
              <a:gd name="connsiteX0" fmla="*/ 0 w 7141030"/>
              <a:gd name="connsiteY0" fmla="*/ 0 h 3952568"/>
              <a:gd name="connsiteX1" fmla="*/ 7141029 w 7141030"/>
              <a:gd name="connsiteY1" fmla="*/ 0 h 3952568"/>
              <a:gd name="connsiteX2" fmla="*/ 7141030 w 7141030"/>
              <a:gd name="connsiteY2" fmla="*/ 1891538 h 3952568"/>
              <a:gd name="connsiteX3" fmla="*/ 7141029 w 7141030"/>
              <a:gd name="connsiteY3" fmla="*/ 3952568 h 3952568"/>
              <a:gd name="connsiteX4" fmla="*/ 0 w 7141030"/>
              <a:gd name="connsiteY4" fmla="*/ 3952568 h 3952568"/>
              <a:gd name="connsiteX5" fmla="*/ 0 w 7141030"/>
              <a:gd name="connsiteY5" fmla="*/ 0 h 3952568"/>
              <a:gd name="connsiteX0" fmla="*/ 0 w 7532915"/>
              <a:gd name="connsiteY0" fmla="*/ 0 h 4025140"/>
              <a:gd name="connsiteX1" fmla="*/ 7141029 w 7532915"/>
              <a:gd name="connsiteY1" fmla="*/ 0 h 4025140"/>
              <a:gd name="connsiteX2" fmla="*/ 7141030 w 7532915"/>
              <a:gd name="connsiteY2" fmla="*/ 1891538 h 4025140"/>
              <a:gd name="connsiteX3" fmla="*/ 7532915 w 7532915"/>
              <a:gd name="connsiteY3" fmla="*/ 4025140 h 4025140"/>
              <a:gd name="connsiteX4" fmla="*/ 0 w 7532915"/>
              <a:gd name="connsiteY4" fmla="*/ 3952568 h 4025140"/>
              <a:gd name="connsiteX5" fmla="*/ 0 w 7532915"/>
              <a:gd name="connsiteY5" fmla="*/ 0 h 4025140"/>
              <a:gd name="connsiteX0" fmla="*/ 0 w 7532915"/>
              <a:gd name="connsiteY0" fmla="*/ 0 h 4025140"/>
              <a:gd name="connsiteX1" fmla="*/ 7141029 w 7532915"/>
              <a:gd name="connsiteY1" fmla="*/ 0 h 4025140"/>
              <a:gd name="connsiteX2" fmla="*/ 7213602 w 7532915"/>
              <a:gd name="connsiteY2" fmla="*/ 1891538 h 4025140"/>
              <a:gd name="connsiteX3" fmla="*/ 7532915 w 7532915"/>
              <a:gd name="connsiteY3" fmla="*/ 4025140 h 4025140"/>
              <a:gd name="connsiteX4" fmla="*/ 0 w 7532915"/>
              <a:gd name="connsiteY4" fmla="*/ 3952568 h 4025140"/>
              <a:gd name="connsiteX5" fmla="*/ 0 w 7532915"/>
              <a:gd name="connsiteY5" fmla="*/ 0 h 4025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2915" h="4025140">
                <a:moveTo>
                  <a:pt x="0" y="0"/>
                </a:moveTo>
                <a:lnTo>
                  <a:pt x="7141029" y="0"/>
                </a:lnTo>
                <a:cubicBezTo>
                  <a:pt x="7141029" y="630513"/>
                  <a:pt x="7213602" y="1261025"/>
                  <a:pt x="7213602" y="1891538"/>
                </a:cubicBezTo>
                <a:cubicBezTo>
                  <a:pt x="7213602" y="2578548"/>
                  <a:pt x="7532915" y="3338130"/>
                  <a:pt x="7532915" y="4025140"/>
                </a:cubicBezTo>
                <a:lnTo>
                  <a:pt x="0" y="3952568"/>
                </a:lnTo>
                <a:lnTo>
                  <a:pt x="0" y="0"/>
                </a:lnTo>
                <a:close/>
              </a:path>
            </a:pathLst>
          </a:custGeom>
          <a:solidFill>
            <a:srgbClr val="9FBC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900"/>
          </a:p>
        </p:txBody>
      </p:sp>
      <p:sp>
        <p:nvSpPr>
          <p:cNvPr id="5" name="Forma Livre: Forma 4">
            <a:extLst>
              <a:ext uri="{FF2B5EF4-FFF2-40B4-BE49-F238E27FC236}">
                <a16:creationId xmlns:a16="http://schemas.microsoft.com/office/drawing/2014/main" id="{D0B1317D-7209-9CBB-B726-24A411582A85}"/>
              </a:ext>
            </a:extLst>
          </p:cNvPr>
          <p:cNvSpPr/>
          <p:nvPr userDrawn="1"/>
        </p:nvSpPr>
        <p:spPr>
          <a:xfrm>
            <a:off x="-5241" y="684532"/>
            <a:ext cx="3873399" cy="5243605"/>
          </a:xfrm>
          <a:custGeom>
            <a:avLst/>
            <a:gdLst>
              <a:gd name="connsiteX0" fmla="*/ 7200900 w 7734300"/>
              <a:gd name="connsiteY0" fmla="*/ 10248900 h 10248900"/>
              <a:gd name="connsiteX1" fmla="*/ 6553200 w 7734300"/>
              <a:gd name="connsiteY1" fmla="*/ 10020300 h 10248900"/>
              <a:gd name="connsiteX2" fmla="*/ 5067300 w 7734300"/>
              <a:gd name="connsiteY2" fmla="*/ 9505950 h 10248900"/>
              <a:gd name="connsiteX3" fmla="*/ 0 w 7734300"/>
              <a:gd name="connsiteY3" fmla="*/ 8648700 h 10248900"/>
              <a:gd name="connsiteX4" fmla="*/ 0 w 7734300"/>
              <a:gd name="connsiteY4" fmla="*/ 0 h 10248900"/>
              <a:gd name="connsiteX5" fmla="*/ 6343650 w 7734300"/>
              <a:gd name="connsiteY5" fmla="*/ 2343150 h 10248900"/>
              <a:gd name="connsiteX6" fmla="*/ 6400800 w 7734300"/>
              <a:gd name="connsiteY6" fmla="*/ 3467100 h 10248900"/>
              <a:gd name="connsiteX7" fmla="*/ 7734300 w 7734300"/>
              <a:gd name="connsiteY7" fmla="*/ 4438650 h 10248900"/>
              <a:gd name="connsiteX8" fmla="*/ 7600950 w 7734300"/>
              <a:gd name="connsiteY8" fmla="*/ 6838950 h 10248900"/>
              <a:gd name="connsiteX9" fmla="*/ 7143750 w 7734300"/>
              <a:gd name="connsiteY9" fmla="*/ 7372350 h 10248900"/>
              <a:gd name="connsiteX10" fmla="*/ 7200900 w 7734300"/>
              <a:gd name="connsiteY10" fmla="*/ 10248900 h 10248900"/>
              <a:gd name="connsiteX0" fmla="*/ 7200900 w 7734300"/>
              <a:gd name="connsiteY0" fmla="*/ 10248900 h 10347853"/>
              <a:gd name="connsiteX1" fmla="*/ 6553200 w 7734300"/>
              <a:gd name="connsiteY1" fmla="*/ 10020300 h 10347853"/>
              <a:gd name="connsiteX2" fmla="*/ 5067300 w 7734300"/>
              <a:gd name="connsiteY2" fmla="*/ 9505950 h 10347853"/>
              <a:gd name="connsiteX3" fmla="*/ 0 w 7734300"/>
              <a:gd name="connsiteY3" fmla="*/ 8648700 h 10347853"/>
              <a:gd name="connsiteX4" fmla="*/ 0 w 7734300"/>
              <a:gd name="connsiteY4" fmla="*/ 0 h 10347853"/>
              <a:gd name="connsiteX5" fmla="*/ 6343650 w 7734300"/>
              <a:gd name="connsiteY5" fmla="*/ 2343150 h 10347853"/>
              <a:gd name="connsiteX6" fmla="*/ 6400800 w 7734300"/>
              <a:gd name="connsiteY6" fmla="*/ 3467100 h 10347853"/>
              <a:gd name="connsiteX7" fmla="*/ 7734300 w 7734300"/>
              <a:gd name="connsiteY7" fmla="*/ 4438650 h 10347853"/>
              <a:gd name="connsiteX8" fmla="*/ 7600950 w 7734300"/>
              <a:gd name="connsiteY8" fmla="*/ 6838950 h 10347853"/>
              <a:gd name="connsiteX9" fmla="*/ 7143750 w 7734300"/>
              <a:gd name="connsiteY9" fmla="*/ 7372350 h 10347853"/>
              <a:gd name="connsiteX10" fmla="*/ 7200900 w 7734300"/>
              <a:gd name="connsiteY10" fmla="*/ 10248900 h 10347853"/>
              <a:gd name="connsiteX0" fmla="*/ 7239000 w 7734300"/>
              <a:gd name="connsiteY0" fmla="*/ 10274300 h 10357535"/>
              <a:gd name="connsiteX1" fmla="*/ 6553200 w 7734300"/>
              <a:gd name="connsiteY1" fmla="*/ 10020300 h 10357535"/>
              <a:gd name="connsiteX2" fmla="*/ 5067300 w 7734300"/>
              <a:gd name="connsiteY2" fmla="*/ 9505950 h 10357535"/>
              <a:gd name="connsiteX3" fmla="*/ 0 w 7734300"/>
              <a:gd name="connsiteY3" fmla="*/ 8648700 h 10357535"/>
              <a:gd name="connsiteX4" fmla="*/ 0 w 7734300"/>
              <a:gd name="connsiteY4" fmla="*/ 0 h 10357535"/>
              <a:gd name="connsiteX5" fmla="*/ 6343650 w 7734300"/>
              <a:gd name="connsiteY5" fmla="*/ 2343150 h 10357535"/>
              <a:gd name="connsiteX6" fmla="*/ 6400800 w 7734300"/>
              <a:gd name="connsiteY6" fmla="*/ 3467100 h 10357535"/>
              <a:gd name="connsiteX7" fmla="*/ 7734300 w 7734300"/>
              <a:gd name="connsiteY7" fmla="*/ 4438650 h 10357535"/>
              <a:gd name="connsiteX8" fmla="*/ 7600950 w 7734300"/>
              <a:gd name="connsiteY8" fmla="*/ 6838950 h 10357535"/>
              <a:gd name="connsiteX9" fmla="*/ 7143750 w 7734300"/>
              <a:gd name="connsiteY9" fmla="*/ 7372350 h 10357535"/>
              <a:gd name="connsiteX10" fmla="*/ 7239000 w 7734300"/>
              <a:gd name="connsiteY10" fmla="*/ 10274300 h 10357535"/>
              <a:gd name="connsiteX0" fmla="*/ 7239000 w 7734300"/>
              <a:gd name="connsiteY0" fmla="*/ 10274300 h 10391284"/>
              <a:gd name="connsiteX1" fmla="*/ 6553200 w 7734300"/>
              <a:gd name="connsiteY1" fmla="*/ 10020300 h 10391284"/>
              <a:gd name="connsiteX2" fmla="*/ 5067300 w 7734300"/>
              <a:gd name="connsiteY2" fmla="*/ 9505950 h 10391284"/>
              <a:gd name="connsiteX3" fmla="*/ 0 w 7734300"/>
              <a:gd name="connsiteY3" fmla="*/ 8648700 h 10391284"/>
              <a:gd name="connsiteX4" fmla="*/ 0 w 7734300"/>
              <a:gd name="connsiteY4" fmla="*/ 0 h 10391284"/>
              <a:gd name="connsiteX5" fmla="*/ 6343650 w 7734300"/>
              <a:gd name="connsiteY5" fmla="*/ 2343150 h 10391284"/>
              <a:gd name="connsiteX6" fmla="*/ 6400800 w 7734300"/>
              <a:gd name="connsiteY6" fmla="*/ 3467100 h 10391284"/>
              <a:gd name="connsiteX7" fmla="*/ 7734300 w 7734300"/>
              <a:gd name="connsiteY7" fmla="*/ 4438650 h 10391284"/>
              <a:gd name="connsiteX8" fmla="*/ 7600950 w 7734300"/>
              <a:gd name="connsiteY8" fmla="*/ 6838950 h 10391284"/>
              <a:gd name="connsiteX9" fmla="*/ 7143750 w 7734300"/>
              <a:gd name="connsiteY9" fmla="*/ 7372350 h 10391284"/>
              <a:gd name="connsiteX10" fmla="*/ 7239000 w 7734300"/>
              <a:gd name="connsiteY10" fmla="*/ 10274300 h 10391284"/>
              <a:gd name="connsiteX0" fmla="*/ 7239000 w 7734300"/>
              <a:gd name="connsiteY0" fmla="*/ 10274300 h 10391284"/>
              <a:gd name="connsiteX1" fmla="*/ 6553200 w 7734300"/>
              <a:gd name="connsiteY1" fmla="*/ 10020300 h 10391284"/>
              <a:gd name="connsiteX2" fmla="*/ 5067300 w 7734300"/>
              <a:gd name="connsiteY2" fmla="*/ 9505950 h 10391284"/>
              <a:gd name="connsiteX3" fmla="*/ 0 w 7734300"/>
              <a:gd name="connsiteY3" fmla="*/ 8648700 h 10391284"/>
              <a:gd name="connsiteX4" fmla="*/ 0 w 7734300"/>
              <a:gd name="connsiteY4" fmla="*/ 0 h 10391284"/>
              <a:gd name="connsiteX5" fmla="*/ 6343650 w 7734300"/>
              <a:gd name="connsiteY5" fmla="*/ 2343150 h 10391284"/>
              <a:gd name="connsiteX6" fmla="*/ 6400800 w 7734300"/>
              <a:gd name="connsiteY6" fmla="*/ 3467100 h 10391284"/>
              <a:gd name="connsiteX7" fmla="*/ 7734300 w 7734300"/>
              <a:gd name="connsiteY7" fmla="*/ 4438650 h 10391284"/>
              <a:gd name="connsiteX8" fmla="*/ 7600950 w 7734300"/>
              <a:gd name="connsiteY8" fmla="*/ 6838950 h 10391284"/>
              <a:gd name="connsiteX9" fmla="*/ 7143750 w 7734300"/>
              <a:gd name="connsiteY9" fmla="*/ 7372350 h 10391284"/>
              <a:gd name="connsiteX10" fmla="*/ 7239000 w 7734300"/>
              <a:gd name="connsiteY10" fmla="*/ 10274300 h 10391284"/>
              <a:gd name="connsiteX0" fmla="*/ 7239000 w 7734300"/>
              <a:gd name="connsiteY0" fmla="*/ 10274300 h 10391284"/>
              <a:gd name="connsiteX1" fmla="*/ 6553200 w 7734300"/>
              <a:gd name="connsiteY1" fmla="*/ 10020300 h 10391284"/>
              <a:gd name="connsiteX2" fmla="*/ 5067300 w 7734300"/>
              <a:gd name="connsiteY2" fmla="*/ 9505950 h 10391284"/>
              <a:gd name="connsiteX3" fmla="*/ 0 w 7734300"/>
              <a:gd name="connsiteY3" fmla="*/ 8648700 h 10391284"/>
              <a:gd name="connsiteX4" fmla="*/ 0 w 7734300"/>
              <a:gd name="connsiteY4" fmla="*/ 0 h 10391284"/>
              <a:gd name="connsiteX5" fmla="*/ 6343650 w 7734300"/>
              <a:gd name="connsiteY5" fmla="*/ 2343150 h 10391284"/>
              <a:gd name="connsiteX6" fmla="*/ 6400800 w 7734300"/>
              <a:gd name="connsiteY6" fmla="*/ 3467100 h 10391284"/>
              <a:gd name="connsiteX7" fmla="*/ 7734300 w 7734300"/>
              <a:gd name="connsiteY7" fmla="*/ 4438650 h 10391284"/>
              <a:gd name="connsiteX8" fmla="*/ 7600950 w 7734300"/>
              <a:gd name="connsiteY8" fmla="*/ 6838950 h 10391284"/>
              <a:gd name="connsiteX9" fmla="*/ 7143750 w 7734300"/>
              <a:gd name="connsiteY9" fmla="*/ 7372350 h 10391284"/>
              <a:gd name="connsiteX10" fmla="*/ 7239000 w 7734300"/>
              <a:gd name="connsiteY10" fmla="*/ 10274300 h 10391284"/>
              <a:gd name="connsiteX0" fmla="*/ 7239000 w 7734300"/>
              <a:gd name="connsiteY0" fmla="*/ 10210800 h 10364533"/>
              <a:gd name="connsiteX1" fmla="*/ 6553200 w 7734300"/>
              <a:gd name="connsiteY1" fmla="*/ 10020300 h 10364533"/>
              <a:gd name="connsiteX2" fmla="*/ 5067300 w 7734300"/>
              <a:gd name="connsiteY2" fmla="*/ 9505950 h 10364533"/>
              <a:gd name="connsiteX3" fmla="*/ 0 w 7734300"/>
              <a:gd name="connsiteY3" fmla="*/ 8648700 h 10364533"/>
              <a:gd name="connsiteX4" fmla="*/ 0 w 7734300"/>
              <a:gd name="connsiteY4" fmla="*/ 0 h 10364533"/>
              <a:gd name="connsiteX5" fmla="*/ 6343650 w 7734300"/>
              <a:gd name="connsiteY5" fmla="*/ 2343150 h 10364533"/>
              <a:gd name="connsiteX6" fmla="*/ 6400800 w 7734300"/>
              <a:gd name="connsiteY6" fmla="*/ 3467100 h 10364533"/>
              <a:gd name="connsiteX7" fmla="*/ 7734300 w 7734300"/>
              <a:gd name="connsiteY7" fmla="*/ 4438650 h 10364533"/>
              <a:gd name="connsiteX8" fmla="*/ 7600950 w 7734300"/>
              <a:gd name="connsiteY8" fmla="*/ 6838950 h 10364533"/>
              <a:gd name="connsiteX9" fmla="*/ 7143750 w 7734300"/>
              <a:gd name="connsiteY9" fmla="*/ 7372350 h 10364533"/>
              <a:gd name="connsiteX10" fmla="*/ 7239000 w 7734300"/>
              <a:gd name="connsiteY10" fmla="*/ 10210800 h 10364533"/>
              <a:gd name="connsiteX0" fmla="*/ 7239000 w 7734300"/>
              <a:gd name="connsiteY0" fmla="*/ 10210800 h 10389420"/>
              <a:gd name="connsiteX1" fmla="*/ 6553200 w 7734300"/>
              <a:gd name="connsiteY1" fmla="*/ 10020300 h 10389420"/>
              <a:gd name="connsiteX2" fmla="*/ 5067300 w 7734300"/>
              <a:gd name="connsiteY2" fmla="*/ 9505950 h 10389420"/>
              <a:gd name="connsiteX3" fmla="*/ 0 w 7734300"/>
              <a:gd name="connsiteY3" fmla="*/ 8648700 h 10389420"/>
              <a:gd name="connsiteX4" fmla="*/ 0 w 7734300"/>
              <a:gd name="connsiteY4" fmla="*/ 0 h 10389420"/>
              <a:gd name="connsiteX5" fmla="*/ 6343650 w 7734300"/>
              <a:gd name="connsiteY5" fmla="*/ 2343150 h 10389420"/>
              <a:gd name="connsiteX6" fmla="*/ 6400800 w 7734300"/>
              <a:gd name="connsiteY6" fmla="*/ 3467100 h 10389420"/>
              <a:gd name="connsiteX7" fmla="*/ 7734300 w 7734300"/>
              <a:gd name="connsiteY7" fmla="*/ 4438650 h 10389420"/>
              <a:gd name="connsiteX8" fmla="*/ 7600950 w 7734300"/>
              <a:gd name="connsiteY8" fmla="*/ 6838950 h 10389420"/>
              <a:gd name="connsiteX9" fmla="*/ 7143750 w 7734300"/>
              <a:gd name="connsiteY9" fmla="*/ 7372350 h 10389420"/>
              <a:gd name="connsiteX10" fmla="*/ 7239000 w 7734300"/>
              <a:gd name="connsiteY10" fmla="*/ 10210800 h 10389420"/>
              <a:gd name="connsiteX0" fmla="*/ 7239000 w 7734300"/>
              <a:gd name="connsiteY0" fmla="*/ 9994900 h 10173520"/>
              <a:gd name="connsiteX1" fmla="*/ 6553200 w 7734300"/>
              <a:gd name="connsiteY1" fmla="*/ 9804400 h 10173520"/>
              <a:gd name="connsiteX2" fmla="*/ 5067300 w 7734300"/>
              <a:gd name="connsiteY2" fmla="*/ 9290050 h 10173520"/>
              <a:gd name="connsiteX3" fmla="*/ 0 w 7734300"/>
              <a:gd name="connsiteY3" fmla="*/ 8432800 h 10173520"/>
              <a:gd name="connsiteX4" fmla="*/ 38100 w 7734300"/>
              <a:gd name="connsiteY4" fmla="*/ 0 h 10173520"/>
              <a:gd name="connsiteX5" fmla="*/ 6343650 w 7734300"/>
              <a:gd name="connsiteY5" fmla="*/ 2127250 h 10173520"/>
              <a:gd name="connsiteX6" fmla="*/ 6400800 w 7734300"/>
              <a:gd name="connsiteY6" fmla="*/ 3251200 h 10173520"/>
              <a:gd name="connsiteX7" fmla="*/ 7734300 w 7734300"/>
              <a:gd name="connsiteY7" fmla="*/ 4222750 h 10173520"/>
              <a:gd name="connsiteX8" fmla="*/ 7600950 w 7734300"/>
              <a:gd name="connsiteY8" fmla="*/ 6623050 h 10173520"/>
              <a:gd name="connsiteX9" fmla="*/ 7143750 w 7734300"/>
              <a:gd name="connsiteY9" fmla="*/ 7156450 h 10173520"/>
              <a:gd name="connsiteX10" fmla="*/ 7239000 w 7734300"/>
              <a:gd name="connsiteY10" fmla="*/ 9994900 h 10173520"/>
              <a:gd name="connsiteX0" fmla="*/ 7264400 w 7759700"/>
              <a:gd name="connsiteY0" fmla="*/ 9931400 h 10110020"/>
              <a:gd name="connsiteX1" fmla="*/ 6578600 w 7759700"/>
              <a:gd name="connsiteY1" fmla="*/ 9740900 h 10110020"/>
              <a:gd name="connsiteX2" fmla="*/ 5092700 w 7759700"/>
              <a:gd name="connsiteY2" fmla="*/ 9226550 h 10110020"/>
              <a:gd name="connsiteX3" fmla="*/ 25400 w 7759700"/>
              <a:gd name="connsiteY3" fmla="*/ 8369300 h 10110020"/>
              <a:gd name="connsiteX4" fmla="*/ 0 w 7759700"/>
              <a:gd name="connsiteY4" fmla="*/ 0 h 10110020"/>
              <a:gd name="connsiteX5" fmla="*/ 6369050 w 7759700"/>
              <a:gd name="connsiteY5" fmla="*/ 2063750 h 10110020"/>
              <a:gd name="connsiteX6" fmla="*/ 6426200 w 7759700"/>
              <a:gd name="connsiteY6" fmla="*/ 3187700 h 10110020"/>
              <a:gd name="connsiteX7" fmla="*/ 7759700 w 7759700"/>
              <a:gd name="connsiteY7" fmla="*/ 4159250 h 10110020"/>
              <a:gd name="connsiteX8" fmla="*/ 7626350 w 7759700"/>
              <a:gd name="connsiteY8" fmla="*/ 6559550 h 10110020"/>
              <a:gd name="connsiteX9" fmla="*/ 7169150 w 7759700"/>
              <a:gd name="connsiteY9" fmla="*/ 7092950 h 10110020"/>
              <a:gd name="connsiteX10" fmla="*/ 7264400 w 7759700"/>
              <a:gd name="connsiteY10" fmla="*/ 9931400 h 10110020"/>
              <a:gd name="connsiteX0" fmla="*/ 7315200 w 7810500"/>
              <a:gd name="connsiteY0" fmla="*/ 10198100 h 10376720"/>
              <a:gd name="connsiteX1" fmla="*/ 6629400 w 7810500"/>
              <a:gd name="connsiteY1" fmla="*/ 10007600 h 10376720"/>
              <a:gd name="connsiteX2" fmla="*/ 5143500 w 7810500"/>
              <a:gd name="connsiteY2" fmla="*/ 9493250 h 10376720"/>
              <a:gd name="connsiteX3" fmla="*/ 76200 w 7810500"/>
              <a:gd name="connsiteY3" fmla="*/ 8636000 h 10376720"/>
              <a:gd name="connsiteX4" fmla="*/ 0 w 7810500"/>
              <a:gd name="connsiteY4" fmla="*/ 0 h 10376720"/>
              <a:gd name="connsiteX5" fmla="*/ 6419850 w 7810500"/>
              <a:gd name="connsiteY5" fmla="*/ 2330450 h 10376720"/>
              <a:gd name="connsiteX6" fmla="*/ 6477000 w 7810500"/>
              <a:gd name="connsiteY6" fmla="*/ 3454400 h 10376720"/>
              <a:gd name="connsiteX7" fmla="*/ 7810500 w 7810500"/>
              <a:gd name="connsiteY7" fmla="*/ 4425950 h 10376720"/>
              <a:gd name="connsiteX8" fmla="*/ 7677150 w 7810500"/>
              <a:gd name="connsiteY8" fmla="*/ 6826250 h 10376720"/>
              <a:gd name="connsiteX9" fmla="*/ 7219950 w 7810500"/>
              <a:gd name="connsiteY9" fmla="*/ 7359650 h 10376720"/>
              <a:gd name="connsiteX10" fmla="*/ 7315200 w 7810500"/>
              <a:gd name="connsiteY10" fmla="*/ 10198100 h 10376720"/>
              <a:gd name="connsiteX0" fmla="*/ 7315200 w 7810500"/>
              <a:gd name="connsiteY0" fmla="*/ 10198100 h 10376720"/>
              <a:gd name="connsiteX1" fmla="*/ 6629400 w 7810500"/>
              <a:gd name="connsiteY1" fmla="*/ 10007600 h 10376720"/>
              <a:gd name="connsiteX2" fmla="*/ 5143500 w 7810500"/>
              <a:gd name="connsiteY2" fmla="*/ 9493250 h 10376720"/>
              <a:gd name="connsiteX3" fmla="*/ 76200 w 7810500"/>
              <a:gd name="connsiteY3" fmla="*/ 8636000 h 10376720"/>
              <a:gd name="connsiteX4" fmla="*/ 0 w 7810500"/>
              <a:gd name="connsiteY4" fmla="*/ 0 h 10376720"/>
              <a:gd name="connsiteX5" fmla="*/ 927100 w 7810500"/>
              <a:gd name="connsiteY5" fmla="*/ 336549 h 10376720"/>
              <a:gd name="connsiteX6" fmla="*/ 6419850 w 7810500"/>
              <a:gd name="connsiteY6" fmla="*/ 2330450 h 10376720"/>
              <a:gd name="connsiteX7" fmla="*/ 6477000 w 7810500"/>
              <a:gd name="connsiteY7" fmla="*/ 3454400 h 10376720"/>
              <a:gd name="connsiteX8" fmla="*/ 7810500 w 7810500"/>
              <a:gd name="connsiteY8" fmla="*/ 4425950 h 10376720"/>
              <a:gd name="connsiteX9" fmla="*/ 7677150 w 7810500"/>
              <a:gd name="connsiteY9" fmla="*/ 6826250 h 10376720"/>
              <a:gd name="connsiteX10" fmla="*/ 7219950 w 7810500"/>
              <a:gd name="connsiteY10" fmla="*/ 7359650 h 10376720"/>
              <a:gd name="connsiteX11" fmla="*/ 7315200 w 7810500"/>
              <a:gd name="connsiteY11" fmla="*/ 10198100 h 10376720"/>
              <a:gd name="connsiteX0" fmla="*/ 7315200 w 7810500"/>
              <a:gd name="connsiteY0" fmla="*/ 10198100 h 10376720"/>
              <a:gd name="connsiteX1" fmla="*/ 6629400 w 7810500"/>
              <a:gd name="connsiteY1" fmla="*/ 10007600 h 10376720"/>
              <a:gd name="connsiteX2" fmla="*/ 5143500 w 7810500"/>
              <a:gd name="connsiteY2" fmla="*/ 9493250 h 10376720"/>
              <a:gd name="connsiteX3" fmla="*/ 76200 w 7810500"/>
              <a:gd name="connsiteY3" fmla="*/ 8636000 h 10376720"/>
              <a:gd name="connsiteX4" fmla="*/ 0 w 7810500"/>
              <a:gd name="connsiteY4" fmla="*/ 0 h 10376720"/>
              <a:gd name="connsiteX5" fmla="*/ 1460500 w 7810500"/>
              <a:gd name="connsiteY5" fmla="*/ 730249 h 10376720"/>
              <a:gd name="connsiteX6" fmla="*/ 6419850 w 7810500"/>
              <a:gd name="connsiteY6" fmla="*/ 2330450 h 10376720"/>
              <a:gd name="connsiteX7" fmla="*/ 6477000 w 7810500"/>
              <a:gd name="connsiteY7" fmla="*/ 3454400 h 10376720"/>
              <a:gd name="connsiteX8" fmla="*/ 7810500 w 7810500"/>
              <a:gd name="connsiteY8" fmla="*/ 4425950 h 10376720"/>
              <a:gd name="connsiteX9" fmla="*/ 7677150 w 7810500"/>
              <a:gd name="connsiteY9" fmla="*/ 6826250 h 10376720"/>
              <a:gd name="connsiteX10" fmla="*/ 7219950 w 7810500"/>
              <a:gd name="connsiteY10" fmla="*/ 7359650 h 10376720"/>
              <a:gd name="connsiteX11" fmla="*/ 7315200 w 7810500"/>
              <a:gd name="connsiteY11" fmla="*/ 10198100 h 10376720"/>
              <a:gd name="connsiteX0" fmla="*/ 7315200 w 7810500"/>
              <a:gd name="connsiteY0" fmla="*/ 10198100 h 10376720"/>
              <a:gd name="connsiteX1" fmla="*/ 6629400 w 7810500"/>
              <a:gd name="connsiteY1" fmla="*/ 10007600 h 10376720"/>
              <a:gd name="connsiteX2" fmla="*/ 5143500 w 7810500"/>
              <a:gd name="connsiteY2" fmla="*/ 9493250 h 10376720"/>
              <a:gd name="connsiteX3" fmla="*/ 76200 w 7810500"/>
              <a:gd name="connsiteY3" fmla="*/ 8636000 h 10376720"/>
              <a:gd name="connsiteX4" fmla="*/ 0 w 7810500"/>
              <a:gd name="connsiteY4" fmla="*/ 0 h 10376720"/>
              <a:gd name="connsiteX5" fmla="*/ 1320800 w 7810500"/>
              <a:gd name="connsiteY5" fmla="*/ 755649 h 10376720"/>
              <a:gd name="connsiteX6" fmla="*/ 6419850 w 7810500"/>
              <a:gd name="connsiteY6" fmla="*/ 2330450 h 10376720"/>
              <a:gd name="connsiteX7" fmla="*/ 6477000 w 7810500"/>
              <a:gd name="connsiteY7" fmla="*/ 3454400 h 10376720"/>
              <a:gd name="connsiteX8" fmla="*/ 7810500 w 7810500"/>
              <a:gd name="connsiteY8" fmla="*/ 4425950 h 10376720"/>
              <a:gd name="connsiteX9" fmla="*/ 7677150 w 7810500"/>
              <a:gd name="connsiteY9" fmla="*/ 6826250 h 10376720"/>
              <a:gd name="connsiteX10" fmla="*/ 7219950 w 7810500"/>
              <a:gd name="connsiteY10" fmla="*/ 7359650 h 10376720"/>
              <a:gd name="connsiteX11" fmla="*/ 7315200 w 7810500"/>
              <a:gd name="connsiteY11" fmla="*/ 10198100 h 10376720"/>
              <a:gd name="connsiteX0" fmla="*/ 7315200 w 7810500"/>
              <a:gd name="connsiteY0" fmla="*/ 10198100 h 10376720"/>
              <a:gd name="connsiteX1" fmla="*/ 6629400 w 7810500"/>
              <a:gd name="connsiteY1" fmla="*/ 10007600 h 10376720"/>
              <a:gd name="connsiteX2" fmla="*/ 5143500 w 7810500"/>
              <a:gd name="connsiteY2" fmla="*/ 9493250 h 10376720"/>
              <a:gd name="connsiteX3" fmla="*/ 76200 w 7810500"/>
              <a:gd name="connsiteY3" fmla="*/ 8636000 h 10376720"/>
              <a:gd name="connsiteX4" fmla="*/ 0 w 7810500"/>
              <a:gd name="connsiteY4" fmla="*/ 0 h 10376720"/>
              <a:gd name="connsiteX5" fmla="*/ 1193800 w 7810500"/>
              <a:gd name="connsiteY5" fmla="*/ 666749 h 10376720"/>
              <a:gd name="connsiteX6" fmla="*/ 6419850 w 7810500"/>
              <a:gd name="connsiteY6" fmla="*/ 2330450 h 10376720"/>
              <a:gd name="connsiteX7" fmla="*/ 6477000 w 7810500"/>
              <a:gd name="connsiteY7" fmla="*/ 3454400 h 10376720"/>
              <a:gd name="connsiteX8" fmla="*/ 7810500 w 7810500"/>
              <a:gd name="connsiteY8" fmla="*/ 4425950 h 10376720"/>
              <a:gd name="connsiteX9" fmla="*/ 7677150 w 7810500"/>
              <a:gd name="connsiteY9" fmla="*/ 6826250 h 10376720"/>
              <a:gd name="connsiteX10" fmla="*/ 7219950 w 7810500"/>
              <a:gd name="connsiteY10" fmla="*/ 7359650 h 10376720"/>
              <a:gd name="connsiteX11" fmla="*/ 7315200 w 7810500"/>
              <a:gd name="connsiteY11" fmla="*/ 10198100 h 10376720"/>
              <a:gd name="connsiteX0" fmla="*/ 7299960 w 7795260"/>
              <a:gd name="connsiteY0" fmla="*/ 10236200 h 10414820"/>
              <a:gd name="connsiteX1" fmla="*/ 6614160 w 7795260"/>
              <a:gd name="connsiteY1" fmla="*/ 10045700 h 10414820"/>
              <a:gd name="connsiteX2" fmla="*/ 5128260 w 7795260"/>
              <a:gd name="connsiteY2" fmla="*/ 9531350 h 10414820"/>
              <a:gd name="connsiteX3" fmla="*/ 60960 w 7795260"/>
              <a:gd name="connsiteY3" fmla="*/ 8674100 h 10414820"/>
              <a:gd name="connsiteX4" fmla="*/ 0 w 7795260"/>
              <a:gd name="connsiteY4" fmla="*/ 0 h 10414820"/>
              <a:gd name="connsiteX5" fmla="*/ 1178560 w 7795260"/>
              <a:gd name="connsiteY5" fmla="*/ 704849 h 10414820"/>
              <a:gd name="connsiteX6" fmla="*/ 6404610 w 7795260"/>
              <a:gd name="connsiteY6" fmla="*/ 2368550 h 10414820"/>
              <a:gd name="connsiteX7" fmla="*/ 6461760 w 7795260"/>
              <a:gd name="connsiteY7" fmla="*/ 3492500 h 10414820"/>
              <a:gd name="connsiteX8" fmla="*/ 7795260 w 7795260"/>
              <a:gd name="connsiteY8" fmla="*/ 4464050 h 10414820"/>
              <a:gd name="connsiteX9" fmla="*/ 7661910 w 7795260"/>
              <a:gd name="connsiteY9" fmla="*/ 6864350 h 10414820"/>
              <a:gd name="connsiteX10" fmla="*/ 7204710 w 7795260"/>
              <a:gd name="connsiteY10" fmla="*/ 7397750 h 10414820"/>
              <a:gd name="connsiteX11" fmla="*/ 7299960 w 7795260"/>
              <a:gd name="connsiteY11" fmla="*/ 10236200 h 10414820"/>
              <a:gd name="connsiteX0" fmla="*/ 7254240 w 7749540"/>
              <a:gd name="connsiteY0" fmla="*/ 10213340 h 10391960"/>
              <a:gd name="connsiteX1" fmla="*/ 6568440 w 7749540"/>
              <a:gd name="connsiteY1" fmla="*/ 10022840 h 10391960"/>
              <a:gd name="connsiteX2" fmla="*/ 5082540 w 7749540"/>
              <a:gd name="connsiteY2" fmla="*/ 9508490 h 10391960"/>
              <a:gd name="connsiteX3" fmla="*/ 15240 w 7749540"/>
              <a:gd name="connsiteY3" fmla="*/ 8651240 h 10391960"/>
              <a:gd name="connsiteX4" fmla="*/ 0 w 7749540"/>
              <a:gd name="connsiteY4" fmla="*/ 0 h 10391960"/>
              <a:gd name="connsiteX5" fmla="*/ 1132840 w 7749540"/>
              <a:gd name="connsiteY5" fmla="*/ 681989 h 10391960"/>
              <a:gd name="connsiteX6" fmla="*/ 6358890 w 7749540"/>
              <a:gd name="connsiteY6" fmla="*/ 2345690 h 10391960"/>
              <a:gd name="connsiteX7" fmla="*/ 6416040 w 7749540"/>
              <a:gd name="connsiteY7" fmla="*/ 3469640 h 10391960"/>
              <a:gd name="connsiteX8" fmla="*/ 7749540 w 7749540"/>
              <a:gd name="connsiteY8" fmla="*/ 4441190 h 10391960"/>
              <a:gd name="connsiteX9" fmla="*/ 7616190 w 7749540"/>
              <a:gd name="connsiteY9" fmla="*/ 6841490 h 10391960"/>
              <a:gd name="connsiteX10" fmla="*/ 7158990 w 7749540"/>
              <a:gd name="connsiteY10" fmla="*/ 7374890 h 10391960"/>
              <a:gd name="connsiteX11" fmla="*/ 7254240 w 7749540"/>
              <a:gd name="connsiteY11" fmla="*/ 10213340 h 10391960"/>
              <a:gd name="connsiteX0" fmla="*/ 7254240 w 7749540"/>
              <a:gd name="connsiteY0" fmla="*/ 10213340 h 10391960"/>
              <a:gd name="connsiteX1" fmla="*/ 6568440 w 7749540"/>
              <a:gd name="connsiteY1" fmla="*/ 10022840 h 10391960"/>
              <a:gd name="connsiteX2" fmla="*/ 5082540 w 7749540"/>
              <a:gd name="connsiteY2" fmla="*/ 9508490 h 10391960"/>
              <a:gd name="connsiteX3" fmla="*/ 15240 w 7749540"/>
              <a:gd name="connsiteY3" fmla="*/ 8651240 h 10391960"/>
              <a:gd name="connsiteX4" fmla="*/ 0 w 7749540"/>
              <a:gd name="connsiteY4" fmla="*/ 0 h 10391960"/>
              <a:gd name="connsiteX5" fmla="*/ 1163320 w 7749540"/>
              <a:gd name="connsiteY5" fmla="*/ 659129 h 10391960"/>
              <a:gd name="connsiteX6" fmla="*/ 6358890 w 7749540"/>
              <a:gd name="connsiteY6" fmla="*/ 2345690 h 10391960"/>
              <a:gd name="connsiteX7" fmla="*/ 6416040 w 7749540"/>
              <a:gd name="connsiteY7" fmla="*/ 3469640 h 10391960"/>
              <a:gd name="connsiteX8" fmla="*/ 7749540 w 7749540"/>
              <a:gd name="connsiteY8" fmla="*/ 4441190 h 10391960"/>
              <a:gd name="connsiteX9" fmla="*/ 7616190 w 7749540"/>
              <a:gd name="connsiteY9" fmla="*/ 6841490 h 10391960"/>
              <a:gd name="connsiteX10" fmla="*/ 7158990 w 7749540"/>
              <a:gd name="connsiteY10" fmla="*/ 7374890 h 10391960"/>
              <a:gd name="connsiteX11" fmla="*/ 7254240 w 7749540"/>
              <a:gd name="connsiteY11" fmla="*/ 10213340 h 10391960"/>
              <a:gd name="connsiteX0" fmla="*/ 7249478 w 7744778"/>
              <a:gd name="connsiteY0" fmla="*/ 10270490 h 10449110"/>
              <a:gd name="connsiteX1" fmla="*/ 6563678 w 7744778"/>
              <a:gd name="connsiteY1" fmla="*/ 10079990 h 10449110"/>
              <a:gd name="connsiteX2" fmla="*/ 5077778 w 7744778"/>
              <a:gd name="connsiteY2" fmla="*/ 9565640 h 10449110"/>
              <a:gd name="connsiteX3" fmla="*/ 10478 w 7744778"/>
              <a:gd name="connsiteY3" fmla="*/ 8708390 h 10449110"/>
              <a:gd name="connsiteX4" fmla="*/ 0 w 7744778"/>
              <a:gd name="connsiteY4" fmla="*/ 0 h 10449110"/>
              <a:gd name="connsiteX5" fmla="*/ 1158558 w 7744778"/>
              <a:gd name="connsiteY5" fmla="*/ 716279 h 10449110"/>
              <a:gd name="connsiteX6" fmla="*/ 6354128 w 7744778"/>
              <a:gd name="connsiteY6" fmla="*/ 2402840 h 10449110"/>
              <a:gd name="connsiteX7" fmla="*/ 6411278 w 7744778"/>
              <a:gd name="connsiteY7" fmla="*/ 3526790 h 10449110"/>
              <a:gd name="connsiteX8" fmla="*/ 7744778 w 7744778"/>
              <a:gd name="connsiteY8" fmla="*/ 4498340 h 10449110"/>
              <a:gd name="connsiteX9" fmla="*/ 7611428 w 7744778"/>
              <a:gd name="connsiteY9" fmla="*/ 6898640 h 10449110"/>
              <a:gd name="connsiteX10" fmla="*/ 7154228 w 7744778"/>
              <a:gd name="connsiteY10" fmla="*/ 7432040 h 10449110"/>
              <a:gd name="connsiteX11" fmla="*/ 7249478 w 7744778"/>
              <a:gd name="connsiteY11" fmla="*/ 10270490 h 10449110"/>
              <a:gd name="connsiteX0" fmla="*/ 7249478 w 7744778"/>
              <a:gd name="connsiteY0" fmla="*/ 10308590 h 10487210"/>
              <a:gd name="connsiteX1" fmla="*/ 6563678 w 7744778"/>
              <a:gd name="connsiteY1" fmla="*/ 10118090 h 10487210"/>
              <a:gd name="connsiteX2" fmla="*/ 5077778 w 7744778"/>
              <a:gd name="connsiteY2" fmla="*/ 9603740 h 10487210"/>
              <a:gd name="connsiteX3" fmla="*/ 10478 w 7744778"/>
              <a:gd name="connsiteY3" fmla="*/ 8746490 h 10487210"/>
              <a:gd name="connsiteX4" fmla="*/ 0 w 7744778"/>
              <a:gd name="connsiteY4" fmla="*/ 0 h 10487210"/>
              <a:gd name="connsiteX5" fmla="*/ 1158558 w 7744778"/>
              <a:gd name="connsiteY5" fmla="*/ 754379 h 10487210"/>
              <a:gd name="connsiteX6" fmla="*/ 6354128 w 7744778"/>
              <a:gd name="connsiteY6" fmla="*/ 2440940 h 10487210"/>
              <a:gd name="connsiteX7" fmla="*/ 6411278 w 7744778"/>
              <a:gd name="connsiteY7" fmla="*/ 3564890 h 10487210"/>
              <a:gd name="connsiteX8" fmla="*/ 7744778 w 7744778"/>
              <a:gd name="connsiteY8" fmla="*/ 4536440 h 10487210"/>
              <a:gd name="connsiteX9" fmla="*/ 7611428 w 7744778"/>
              <a:gd name="connsiteY9" fmla="*/ 6936740 h 10487210"/>
              <a:gd name="connsiteX10" fmla="*/ 7154228 w 7744778"/>
              <a:gd name="connsiteY10" fmla="*/ 7470140 h 10487210"/>
              <a:gd name="connsiteX11" fmla="*/ 7249478 w 7744778"/>
              <a:gd name="connsiteY11" fmla="*/ 10308590 h 10487210"/>
              <a:gd name="connsiteX0" fmla="*/ 7249478 w 7744778"/>
              <a:gd name="connsiteY0" fmla="*/ 10308590 h 10487210"/>
              <a:gd name="connsiteX1" fmla="*/ 6563678 w 7744778"/>
              <a:gd name="connsiteY1" fmla="*/ 10118090 h 10487210"/>
              <a:gd name="connsiteX2" fmla="*/ 5077778 w 7744778"/>
              <a:gd name="connsiteY2" fmla="*/ 9603740 h 10487210"/>
              <a:gd name="connsiteX3" fmla="*/ 10478 w 7744778"/>
              <a:gd name="connsiteY3" fmla="*/ 8746490 h 10487210"/>
              <a:gd name="connsiteX4" fmla="*/ 0 w 7744778"/>
              <a:gd name="connsiteY4" fmla="*/ 0 h 10487210"/>
              <a:gd name="connsiteX5" fmla="*/ 871538 w 7744778"/>
              <a:gd name="connsiteY5" fmla="*/ 581659 h 10487210"/>
              <a:gd name="connsiteX6" fmla="*/ 1158558 w 7744778"/>
              <a:gd name="connsiteY6" fmla="*/ 754379 h 10487210"/>
              <a:gd name="connsiteX7" fmla="*/ 6354128 w 7744778"/>
              <a:gd name="connsiteY7" fmla="*/ 2440940 h 10487210"/>
              <a:gd name="connsiteX8" fmla="*/ 6411278 w 7744778"/>
              <a:gd name="connsiteY8" fmla="*/ 3564890 h 10487210"/>
              <a:gd name="connsiteX9" fmla="*/ 7744778 w 7744778"/>
              <a:gd name="connsiteY9" fmla="*/ 4536440 h 10487210"/>
              <a:gd name="connsiteX10" fmla="*/ 7611428 w 7744778"/>
              <a:gd name="connsiteY10" fmla="*/ 6936740 h 10487210"/>
              <a:gd name="connsiteX11" fmla="*/ 7154228 w 7744778"/>
              <a:gd name="connsiteY11" fmla="*/ 7470140 h 10487210"/>
              <a:gd name="connsiteX12" fmla="*/ 7249478 w 7744778"/>
              <a:gd name="connsiteY12" fmla="*/ 10308590 h 10487210"/>
              <a:gd name="connsiteX0" fmla="*/ 7249478 w 7744778"/>
              <a:gd name="connsiteY0" fmla="*/ 10308590 h 10487210"/>
              <a:gd name="connsiteX1" fmla="*/ 6563678 w 7744778"/>
              <a:gd name="connsiteY1" fmla="*/ 10118090 h 10487210"/>
              <a:gd name="connsiteX2" fmla="*/ 5077778 w 7744778"/>
              <a:gd name="connsiteY2" fmla="*/ 9603740 h 10487210"/>
              <a:gd name="connsiteX3" fmla="*/ 10478 w 7744778"/>
              <a:gd name="connsiteY3" fmla="*/ 8746490 h 10487210"/>
              <a:gd name="connsiteX4" fmla="*/ 0 w 7744778"/>
              <a:gd name="connsiteY4" fmla="*/ 0 h 10487210"/>
              <a:gd name="connsiteX5" fmla="*/ 1267778 w 7744778"/>
              <a:gd name="connsiteY5" fmla="*/ 337819 h 10487210"/>
              <a:gd name="connsiteX6" fmla="*/ 1158558 w 7744778"/>
              <a:gd name="connsiteY6" fmla="*/ 754379 h 10487210"/>
              <a:gd name="connsiteX7" fmla="*/ 6354128 w 7744778"/>
              <a:gd name="connsiteY7" fmla="*/ 2440940 h 10487210"/>
              <a:gd name="connsiteX8" fmla="*/ 6411278 w 7744778"/>
              <a:gd name="connsiteY8" fmla="*/ 3564890 h 10487210"/>
              <a:gd name="connsiteX9" fmla="*/ 7744778 w 7744778"/>
              <a:gd name="connsiteY9" fmla="*/ 4536440 h 10487210"/>
              <a:gd name="connsiteX10" fmla="*/ 7611428 w 7744778"/>
              <a:gd name="connsiteY10" fmla="*/ 6936740 h 10487210"/>
              <a:gd name="connsiteX11" fmla="*/ 7154228 w 7744778"/>
              <a:gd name="connsiteY11" fmla="*/ 7470140 h 10487210"/>
              <a:gd name="connsiteX12" fmla="*/ 7249478 w 7744778"/>
              <a:gd name="connsiteY12" fmla="*/ 10308590 h 10487210"/>
              <a:gd name="connsiteX0" fmla="*/ 7249478 w 7744778"/>
              <a:gd name="connsiteY0" fmla="*/ 10308590 h 10487210"/>
              <a:gd name="connsiteX1" fmla="*/ 6563678 w 7744778"/>
              <a:gd name="connsiteY1" fmla="*/ 10118090 h 10487210"/>
              <a:gd name="connsiteX2" fmla="*/ 5077778 w 7744778"/>
              <a:gd name="connsiteY2" fmla="*/ 9603740 h 10487210"/>
              <a:gd name="connsiteX3" fmla="*/ 10478 w 7744778"/>
              <a:gd name="connsiteY3" fmla="*/ 8746490 h 10487210"/>
              <a:gd name="connsiteX4" fmla="*/ 0 w 7744778"/>
              <a:gd name="connsiteY4" fmla="*/ 0 h 10487210"/>
              <a:gd name="connsiteX5" fmla="*/ 1267778 w 7744778"/>
              <a:gd name="connsiteY5" fmla="*/ 337819 h 10487210"/>
              <a:gd name="connsiteX6" fmla="*/ 1135698 w 7744778"/>
              <a:gd name="connsiteY6" fmla="*/ 792479 h 10487210"/>
              <a:gd name="connsiteX7" fmla="*/ 6354128 w 7744778"/>
              <a:gd name="connsiteY7" fmla="*/ 2440940 h 10487210"/>
              <a:gd name="connsiteX8" fmla="*/ 6411278 w 7744778"/>
              <a:gd name="connsiteY8" fmla="*/ 3564890 h 10487210"/>
              <a:gd name="connsiteX9" fmla="*/ 7744778 w 7744778"/>
              <a:gd name="connsiteY9" fmla="*/ 4536440 h 10487210"/>
              <a:gd name="connsiteX10" fmla="*/ 7611428 w 7744778"/>
              <a:gd name="connsiteY10" fmla="*/ 6936740 h 10487210"/>
              <a:gd name="connsiteX11" fmla="*/ 7154228 w 7744778"/>
              <a:gd name="connsiteY11" fmla="*/ 7470140 h 10487210"/>
              <a:gd name="connsiteX12" fmla="*/ 7249478 w 7744778"/>
              <a:gd name="connsiteY12" fmla="*/ 10308590 h 10487210"/>
              <a:gd name="connsiteX0" fmla="*/ 7249478 w 7744778"/>
              <a:gd name="connsiteY0" fmla="*/ 10308590 h 10487210"/>
              <a:gd name="connsiteX1" fmla="*/ 6563678 w 7744778"/>
              <a:gd name="connsiteY1" fmla="*/ 10118090 h 10487210"/>
              <a:gd name="connsiteX2" fmla="*/ 5077778 w 7744778"/>
              <a:gd name="connsiteY2" fmla="*/ 9603740 h 10487210"/>
              <a:gd name="connsiteX3" fmla="*/ 10478 w 7744778"/>
              <a:gd name="connsiteY3" fmla="*/ 8746490 h 10487210"/>
              <a:gd name="connsiteX4" fmla="*/ 0 w 7744778"/>
              <a:gd name="connsiteY4" fmla="*/ 0 h 10487210"/>
              <a:gd name="connsiteX5" fmla="*/ 1168718 w 7744778"/>
              <a:gd name="connsiteY5" fmla="*/ 345439 h 10487210"/>
              <a:gd name="connsiteX6" fmla="*/ 1135698 w 7744778"/>
              <a:gd name="connsiteY6" fmla="*/ 792479 h 10487210"/>
              <a:gd name="connsiteX7" fmla="*/ 6354128 w 7744778"/>
              <a:gd name="connsiteY7" fmla="*/ 2440940 h 10487210"/>
              <a:gd name="connsiteX8" fmla="*/ 6411278 w 7744778"/>
              <a:gd name="connsiteY8" fmla="*/ 3564890 h 10487210"/>
              <a:gd name="connsiteX9" fmla="*/ 7744778 w 7744778"/>
              <a:gd name="connsiteY9" fmla="*/ 4536440 h 10487210"/>
              <a:gd name="connsiteX10" fmla="*/ 7611428 w 7744778"/>
              <a:gd name="connsiteY10" fmla="*/ 6936740 h 10487210"/>
              <a:gd name="connsiteX11" fmla="*/ 7154228 w 7744778"/>
              <a:gd name="connsiteY11" fmla="*/ 7470140 h 10487210"/>
              <a:gd name="connsiteX12" fmla="*/ 7249478 w 7744778"/>
              <a:gd name="connsiteY12" fmla="*/ 10308590 h 10487210"/>
              <a:gd name="connsiteX0" fmla="*/ 7249478 w 7744778"/>
              <a:gd name="connsiteY0" fmla="*/ 10308590 h 10487210"/>
              <a:gd name="connsiteX1" fmla="*/ 6563678 w 7744778"/>
              <a:gd name="connsiteY1" fmla="*/ 10118090 h 10487210"/>
              <a:gd name="connsiteX2" fmla="*/ 5077778 w 7744778"/>
              <a:gd name="connsiteY2" fmla="*/ 9603740 h 10487210"/>
              <a:gd name="connsiteX3" fmla="*/ 10478 w 7744778"/>
              <a:gd name="connsiteY3" fmla="*/ 8746490 h 10487210"/>
              <a:gd name="connsiteX4" fmla="*/ 0 w 7744778"/>
              <a:gd name="connsiteY4" fmla="*/ 0 h 10487210"/>
              <a:gd name="connsiteX5" fmla="*/ 1168718 w 7744778"/>
              <a:gd name="connsiteY5" fmla="*/ 345439 h 10487210"/>
              <a:gd name="connsiteX6" fmla="*/ 1128078 w 7744778"/>
              <a:gd name="connsiteY6" fmla="*/ 739139 h 10487210"/>
              <a:gd name="connsiteX7" fmla="*/ 6354128 w 7744778"/>
              <a:gd name="connsiteY7" fmla="*/ 2440940 h 10487210"/>
              <a:gd name="connsiteX8" fmla="*/ 6411278 w 7744778"/>
              <a:gd name="connsiteY8" fmla="*/ 3564890 h 10487210"/>
              <a:gd name="connsiteX9" fmla="*/ 7744778 w 7744778"/>
              <a:gd name="connsiteY9" fmla="*/ 4536440 h 10487210"/>
              <a:gd name="connsiteX10" fmla="*/ 7611428 w 7744778"/>
              <a:gd name="connsiteY10" fmla="*/ 6936740 h 10487210"/>
              <a:gd name="connsiteX11" fmla="*/ 7154228 w 7744778"/>
              <a:gd name="connsiteY11" fmla="*/ 7470140 h 10487210"/>
              <a:gd name="connsiteX12" fmla="*/ 7249478 w 7744778"/>
              <a:gd name="connsiteY12" fmla="*/ 10308590 h 10487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744778" h="10487210">
                <a:moveTo>
                  <a:pt x="7249478" y="10308590"/>
                </a:moveTo>
                <a:cubicBezTo>
                  <a:pt x="7097078" y="10410190"/>
                  <a:pt x="7084378" y="10740390"/>
                  <a:pt x="6563678" y="10118090"/>
                </a:cubicBezTo>
                <a:cubicBezTo>
                  <a:pt x="5852478" y="10403840"/>
                  <a:pt x="5954078" y="10359390"/>
                  <a:pt x="5077778" y="9603740"/>
                </a:cubicBezTo>
                <a:lnTo>
                  <a:pt x="10478" y="8746490"/>
                </a:lnTo>
                <a:cubicBezTo>
                  <a:pt x="2011" y="5956723"/>
                  <a:pt x="8467" y="2789767"/>
                  <a:pt x="0" y="0"/>
                </a:cubicBezTo>
                <a:lnTo>
                  <a:pt x="1168718" y="345439"/>
                </a:lnTo>
                <a:lnTo>
                  <a:pt x="1128078" y="739139"/>
                </a:lnTo>
                <a:lnTo>
                  <a:pt x="6354128" y="2440940"/>
                </a:lnTo>
                <a:lnTo>
                  <a:pt x="6411278" y="3564890"/>
                </a:lnTo>
                <a:lnTo>
                  <a:pt x="7744778" y="4536440"/>
                </a:lnTo>
                <a:lnTo>
                  <a:pt x="7611428" y="6936740"/>
                </a:lnTo>
                <a:lnTo>
                  <a:pt x="7154228" y="7470140"/>
                </a:lnTo>
                <a:lnTo>
                  <a:pt x="7249478" y="10308590"/>
                </a:lnTo>
                <a:close/>
              </a:path>
            </a:pathLst>
          </a:custGeom>
          <a:gradFill flip="none" rotWithShape="1">
            <a:gsLst>
              <a:gs pos="57000">
                <a:srgbClr val="F8F8F8"/>
              </a:gs>
              <a:gs pos="100000">
                <a:srgbClr val="F0F0F0"/>
              </a:gs>
            </a:gsLst>
            <a:lin ang="13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pt-BR" sz="900"/>
          </a:p>
        </p:txBody>
      </p:sp>
      <p:sp>
        <p:nvSpPr>
          <p:cNvPr id="6" name="Retângulo 4">
            <a:extLst>
              <a:ext uri="{FF2B5EF4-FFF2-40B4-BE49-F238E27FC236}">
                <a16:creationId xmlns:a16="http://schemas.microsoft.com/office/drawing/2014/main" id="{BFA6FF6B-0D0F-E74F-F8B7-9E2EFF0E7B9C}"/>
              </a:ext>
            </a:extLst>
          </p:cNvPr>
          <p:cNvSpPr/>
          <p:nvPr userDrawn="1"/>
        </p:nvSpPr>
        <p:spPr>
          <a:xfrm>
            <a:off x="1807" y="1438276"/>
            <a:ext cx="2355923" cy="5419725"/>
          </a:xfrm>
          <a:custGeom>
            <a:avLst/>
            <a:gdLst>
              <a:gd name="connsiteX0" fmla="*/ 0 w 4710618"/>
              <a:gd name="connsiteY0" fmla="*/ 0 h 10839450"/>
              <a:gd name="connsiteX1" fmla="*/ 4710618 w 4710618"/>
              <a:gd name="connsiteY1" fmla="*/ 0 h 10839450"/>
              <a:gd name="connsiteX2" fmla="*/ 4710618 w 4710618"/>
              <a:gd name="connsiteY2" fmla="*/ 10839450 h 10839450"/>
              <a:gd name="connsiteX3" fmla="*/ 0 w 4710618"/>
              <a:gd name="connsiteY3" fmla="*/ 10839450 h 10839450"/>
              <a:gd name="connsiteX4" fmla="*/ 0 w 4710618"/>
              <a:gd name="connsiteY4" fmla="*/ 0 h 10839450"/>
              <a:gd name="connsiteX0" fmla="*/ 0 w 4710618"/>
              <a:gd name="connsiteY0" fmla="*/ 0 h 10839450"/>
              <a:gd name="connsiteX1" fmla="*/ 3224718 w 4710618"/>
              <a:gd name="connsiteY1" fmla="*/ 1581150 h 10839450"/>
              <a:gd name="connsiteX2" fmla="*/ 4710618 w 4710618"/>
              <a:gd name="connsiteY2" fmla="*/ 10839450 h 10839450"/>
              <a:gd name="connsiteX3" fmla="*/ 0 w 4710618"/>
              <a:gd name="connsiteY3" fmla="*/ 10839450 h 10839450"/>
              <a:gd name="connsiteX4" fmla="*/ 0 w 4710618"/>
              <a:gd name="connsiteY4" fmla="*/ 0 h 10839450"/>
              <a:gd name="connsiteX0" fmla="*/ 0 w 4710618"/>
              <a:gd name="connsiteY0" fmla="*/ 0 h 10839450"/>
              <a:gd name="connsiteX1" fmla="*/ 3872418 w 4710618"/>
              <a:gd name="connsiteY1" fmla="*/ 1447800 h 10839450"/>
              <a:gd name="connsiteX2" fmla="*/ 4710618 w 4710618"/>
              <a:gd name="connsiteY2" fmla="*/ 10839450 h 10839450"/>
              <a:gd name="connsiteX3" fmla="*/ 0 w 4710618"/>
              <a:gd name="connsiteY3" fmla="*/ 10839450 h 10839450"/>
              <a:gd name="connsiteX4" fmla="*/ 0 w 4710618"/>
              <a:gd name="connsiteY4" fmla="*/ 0 h 10839450"/>
              <a:gd name="connsiteX0" fmla="*/ 0 w 4710618"/>
              <a:gd name="connsiteY0" fmla="*/ 0 h 10839450"/>
              <a:gd name="connsiteX1" fmla="*/ 3319968 w 4710618"/>
              <a:gd name="connsiteY1" fmla="*/ 1257300 h 10839450"/>
              <a:gd name="connsiteX2" fmla="*/ 3872418 w 4710618"/>
              <a:gd name="connsiteY2" fmla="*/ 1447800 h 10839450"/>
              <a:gd name="connsiteX3" fmla="*/ 4710618 w 4710618"/>
              <a:gd name="connsiteY3" fmla="*/ 10839450 h 10839450"/>
              <a:gd name="connsiteX4" fmla="*/ 0 w 4710618"/>
              <a:gd name="connsiteY4" fmla="*/ 10839450 h 10839450"/>
              <a:gd name="connsiteX5" fmla="*/ 0 w 4710618"/>
              <a:gd name="connsiteY5" fmla="*/ 0 h 10839450"/>
              <a:gd name="connsiteX0" fmla="*/ 0 w 4710618"/>
              <a:gd name="connsiteY0" fmla="*/ 0 h 10839450"/>
              <a:gd name="connsiteX1" fmla="*/ 3434268 w 4710618"/>
              <a:gd name="connsiteY1" fmla="*/ 1047750 h 10839450"/>
              <a:gd name="connsiteX2" fmla="*/ 3872418 w 4710618"/>
              <a:gd name="connsiteY2" fmla="*/ 1447800 h 10839450"/>
              <a:gd name="connsiteX3" fmla="*/ 4710618 w 4710618"/>
              <a:gd name="connsiteY3" fmla="*/ 10839450 h 10839450"/>
              <a:gd name="connsiteX4" fmla="*/ 0 w 4710618"/>
              <a:gd name="connsiteY4" fmla="*/ 10839450 h 10839450"/>
              <a:gd name="connsiteX5" fmla="*/ 0 w 4710618"/>
              <a:gd name="connsiteY5" fmla="*/ 0 h 10839450"/>
              <a:gd name="connsiteX0" fmla="*/ 0 w 4710618"/>
              <a:gd name="connsiteY0" fmla="*/ 0 h 10839450"/>
              <a:gd name="connsiteX1" fmla="*/ 3434268 w 4710618"/>
              <a:gd name="connsiteY1" fmla="*/ 1047750 h 10839450"/>
              <a:gd name="connsiteX2" fmla="*/ 3872418 w 4710618"/>
              <a:gd name="connsiteY2" fmla="*/ 1447800 h 10839450"/>
              <a:gd name="connsiteX3" fmla="*/ 4710618 w 4710618"/>
              <a:gd name="connsiteY3" fmla="*/ 10839450 h 10839450"/>
              <a:gd name="connsiteX4" fmla="*/ 0 w 4710618"/>
              <a:gd name="connsiteY4" fmla="*/ 10839450 h 10839450"/>
              <a:gd name="connsiteX5" fmla="*/ 0 w 4710618"/>
              <a:gd name="connsiteY5" fmla="*/ 0 h 10839450"/>
              <a:gd name="connsiteX0" fmla="*/ 0 w 4710618"/>
              <a:gd name="connsiteY0" fmla="*/ 0 h 10839450"/>
              <a:gd name="connsiteX1" fmla="*/ 3434268 w 4710618"/>
              <a:gd name="connsiteY1" fmla="*/ 1047750 h 10839450"/>
              <a:gd name="connsiteX2" fmla="*/ 3872418 w 4710618"/>
              <a:gd name="connsiteY2" fmla="*/ 1447800 h 10839450"/>
              <a:gd name="connsiteX3" fmla="*/ 4710618 w 4710618"/>
              <a:gd name="connsiteY3" fmla="*/ 10839450 h 10839450"/>
              <a:gd name="connsiteX4" fmla="*/ 0 w 4710618"/>
              <a:gd name="connsiteY4" fmla="*/ 10839450 h 10839450"/>
              <a:gd name="connsiteX5" fmla="*/ 0 w 4710618"/>
              <a:gd name="connsiteY5" fmla="*/ 0 h 10839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10618" h="10839450">
                <a:moveTo>
                  <a:pt x="0" y="0"/>
                </a:moveTo>
                <a:lnTo>
                  <a:pt x="3434268" y="1047750"/>
                </a:lnTo>
                <a:cubicBezTo>
                  <a:pt x="3679378" y="1158240"/>
                  <a:pt x="3833048" y="1268730"/>
                  <a:pt x="3872418" y="1447800"/>
                </a:cubicBezTo>
                <a:lnTo>
                  <a:pt x="4710618" y="10839450"/>
                </a:lnTo>
                <a:lnTo>
                  <a:pt x="0" y="10839450"/>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900"/>
          </a:p>
        </p:txBody>
      </p:sp>
      <p:sp>
        <p:nvSpPr>
          <p:cNvPr id="7" name="Retângulo 3">
            <a:extLst>
              <a:ext uri="{FF2B5EF4-FFF2-40B4-BE49-F238E27FC236}">
                <a16:creationId xmlns:a16="http://schemas.microsoft.com/office/drawing/2014/main" id="{F4845652-E27D-E338-2420-DC2DAD08A800}"/>
              </a:ext>
            </a:extLst>
          </p:cNvPr>
          <p:cNvSpPr/>
          <p:nvPr userDrawn="1"/>
        </p:nvSpPr>
        <p:spPr>
          <a:xfrm>
            <a:off x="0" y="1253067"/>
            <a:ext cx="2424360" cy="5604935"/>
          </a:xfrm>
          <a:custGeom>
            <a:avLst/>
            <a:gdLst>
              <a:gd name="connsiteX0" fmla="*/ 0 w 3572933"/>
              <a:gd name="connsiteY0" fmla="*/ 0 h 11209867"/>
              <a:gd name="connsiteX1" fmla="*/ 3572933 w 3572933"/>
              <a:gd name="connsiteY1" fmla="*/ 0 h 11209867"/>
              <a:gd name="connsiteX2" fmla="*/ 3572933 w 3572933"/>
              <a:gd name="connsiteY2" fmla="*/ 11209867 h 11209867"/>
              <a:gd name="connsiteX3" fmla="*/ 0 w 3572933"/>
              <a:gd name="connsiteY3" fmla="*/ 11209867 h 11209867"/>
              <a:gd name="connsiteX4" fmla="*/ 0 w 3572933"/>
              <a:gd name="connsiteY4" fmla="*/ 0 h 11209867"/>
              <a:gd name="connsiteX0" fmla="*/ 0 w 4842933"/>
              <a:gd name="connsiteY0" fmla="*/ 0 h 11209867"/>
              <a:gd name="connsiteX1" fmla="*/ 4842933 w 4842933"/>
              <a:gd name="connsiteY1" fmla="*/ 3708400 h 11209867"/>
              <a:gd name="connsiteX2" fmla="*/ 3572933 w 4842933"/>
              <a:gd name="connsiteY2" fmla="*/ 11209867 h 11209867"/>
              <a:gd name="connsiteX3" fmla="*/ 0 w 4842933"/>
              <a:gd name="connsiteY3" fmla="*/ 11209867 h 11209867"/>
              <a:gd name="connsiteX4" fmla="*/ 0 w 4842933"/>
              <a:gd name="connsiteY4" fmla="*/ 0 h 11209867"/>
              <a:gd name="connsiteX0" fmla="*/ 0 w 4842933"/>
              <a:gd name="connsiteY0" fmla="*/ 0 h 11209867"/>
              <a:gd name="connsiteX1" fmla="*/ 4572001 w 4842933"/>
              <a:gd name="connsiteY1" fmla="*/ 3471334 h 11209867"/>
              <a:gd name="connsiteX2" fmla="*/ 4842933 w 4842933"/>
              <a:gd name="connsiteY2" fmla="*/ 3708400 h 11209867"/>
              <a:gd name="connsiteX3" fmla="*/ 3572933 w 4842933"/>
              <a:gd name="connsiteY3" fmla="*/ 11209867 h 11209867"/>
              <a:gd name="connsiteX4" fmla="*/ 0 w 4842933"/>
              <a:gd name="connsiteY4" fmla="*/ 11209867 h 11209867"/>
              <a:gd name="connsiteX5" fmla="*/ 0 w 4842933"/>
              <a:gd name="connsiteY5" fmla="*/ 0 h 11209867"/>
              <a:gd name="connsiteX0" fmla="*/ 0 w 4842933"/>
              <a:gd name="connsiteY0" fmla="*/ 0 h 11209867"/>
              <a:gd name="connsiteX1" fmla="*/ 4588935 w 4842933"/>
              <a:gd name="connsiteY1" fmla="*/ 3183467 h 11209867"/>
              <a:gd name="connsiteX2" fmla="*/ 4842933 w 4842933"/>
              <a:gd name="connsiteY2" fmla="*/ 3708400 h 11209867"/>
              <a:gd name="connsiteX3" fmla="*/ 3572933 w 4842933"/>
              <a:gd name="connsiteY3" fmla="*/ 11209867 h 11209867"/>
              <a:gd name="connsiteX4" fmla="*/ 0 w 4842933"/>
              <a:gd name="connsiteY4" fmla="*/ 11209867 h 11209867"/>
              <a:gd name="connsiteX5" fmla="*/ 0 w 4842933"/>
              <a:gd name="connsiteY5" fmla="*/ 0 h 11209867"/>
              <a:gd name="connsiteX0" fmla="*/ 0 w 4844683"/>
              <a:gd name="connsiteY0" fmla="*/ 0 h 11209867"/>
              <a:gd name="connsiteX1" fmla="*/ 4588935 w 4844683"/>
              <a:gd name="connsiteY1" fmla="*/ 3183467 h 11209867"/>
              <a:gd name="connsiteX2" fmla="*/ 4842933 w 4844683"/>
              <a:gd name="connsiteY2" fmla="*/ 3708400 h 11209867"/>
              <a:gd name="connsiteX3" fmla="*/ 3572933 w 4844683"/>
              <a:gd name="connsiteY3" fmla="*/ 11209867 h 11209867"/>
              <a:gd name="connsiteX4" fmla="*/ 0 w 4844683"/>
              <a:gd name="connsiteY4" fmla="*/ 11209867 h 11209867"/>
              <a:gd name="connsiteX5" fmla="*/ 0 w 4844683"/>
              <a:gd name="connsiteY5" fmla="*/ 0 h 11209867"/>
              <a:gd name="connsiteX0" fmla="*/ 0 w 4846133"/>
              <a:gd name="connsiteY0" fmla="*/ 0 h 11209867"/>
              <a:gd name="connsiteX1" fmla="*/ 4588935 w 4846133"/>
              <a:gd name="connsiteY1" fmla="*/ 3183467 h 11209867"/>
              <a:gd name="connsiteX2" fmla="*/ 4842933 w 4846133"/>
              <a:gd name="connsiteY2" fmla="*/ 3708400 h 11209867"/>
              <a:gd name="connsiteX3" fmla="*/ 3572933 w 4846133"/>
              <a:gd name="connsiteY3" fmla="*/ 11209867 h 11209867"/>
              <a:gd name="connsiteX4" fmla="*/ 0 w 4846133"/>
              <a:gd name="connsiteY4" fmla="*/ 11209867 h 11209867"/>
              <a:gd name="connsiteX5" fmla="*/ 0 w 4846133"/>
              <a:gd name="connsiteY5" fmla="*/ 0 h 11209867"/>
              <a:gd name="connsiteX0" fmla="*/ 0 w 4847457"/>
              <a:gd name="connsiteY0" fmla="*/ 0 h 11209867"/>
              <a:gd name="connsiteX1" fmla="*/ 4588935 w 4847457"/>
              <a:gd name="connsiteY1" fmla="*/ 3183467 h 11209867"/>
              <a:gd name="connsiteX2" fmla="*/ 4842933 w 4847457"/>
              <a:gd name="connsiteY2" fmla="*/ 3708400 h 11209867"/>
              <a:gd name="connsiteX3" fmla="*/ 3572933 w 4847457"/>
              <a:gd name="connsiteY3" fmla="*/ 11209867 h 11209867"/>
              <a:gd name="connsiteX4" fmla="*/ 0 w 4847457"/>
              <a:gd name="connsiteY4" fmla="*/ 11209867 h 11209867"/>
              <a:gd name="connsiteX5" fmla="*/ 0 w 4847457"/>
              <a:gd name="connsiteY5" fmla="*/ 0 h 11209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47457" h="11209867">
                <a:moveTo>
                  <a:pt x="0" y="0"/>
                </a:moveTo>
                <a:lnTo>
                  <a:pt x="4588935" y="3183467"/>
                </a:lnTo>
                <a:cubicBezTo>
                  <a:pt x="4810761" y="3350825"/>
                  <a:pt x="4864947" y="3472462"/>
                  <a:pt x="4842933" y="3708400"/>
                </a:cubicBezTo>
                <a:lnTo>
                  <a:pt x="3572933" y="11209867"/>
                </a:lnTo>
                <a:lnTo>
                  <a:pt x="0" y="11209867"/>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900"/>
          </a:p>
        </p:txBody>
      </p:sp>
      <p:sp>
        <p:nvSpPr>
          <p:cNvPr id="8" name="Retângulo 4">
            <a:extLst>
              <a:ext uri="{FF2B5EF4-FFF2-40B4-BE49-F238E27FC236}">
                <a16:creationId xmlns:a16="http://schemas.microsoft.com/office/drawing/2014/main" id="{C68CFA46-A9AD-90D8-D779-85CD26565F6C}"/>
              </a:ext>
            </a:extLst>
          </p:cNvPr>
          <p:cNvSpPr/>
          <p:nvPr userDrawn="1"/>
        </p:nvSpPr>
        <p:spPr>
          <a:xfrm>
            <a:off x="1807" y="1438276"/>
            <a:ext cx="2355923" cy="5419725"/>
          </a:xfrm>
          <a:custGeom>
            <a:avLst/>
            <a:gdLst>
              <a:gd name="connsiteX0" fmla="*/ 0 w 4710618"/>
              <a:gd name="connsiteY0" fmla="*/ 0 h 10839450"/>
              <a:gd name="connsiteX1" fmla="*/ 4710618 w 4710618"/>
              <a:gd name="connsiteY1" fmla="*/ 0 h 10839450"/>
              <a:gd name="connsiteX2" fmla="*/ 4710618 w 4710618"/>
              <a:gd name="connsiteY2" fmla="*/ 10839450 h 10839450"/>
              <a:gd name="connsiteX3" fmla="*/ 0 w 4710618"/>
              <a:gd name="connsiteY3" fmla="*/ 10839450 h 10839450"/>
              <a:gd name="connsiteX4" fmla="*/ 0 w 4710618"/>
              <a:gd name="connsiteY4" fmla="*/ 0 h 10839450"/>
              <a:gd name="connsiteX0" fmla="*/ 0 w 4710618"/>
              <a:gd name="connsiteY0" fmla="*/ 0 h 10839450"/>
              <a:gd name="connsiteX1" fmla="*/ 3224718 w 4710618"/>
              <a:gd name="connsiteY1" fmla="*/ 1581150 h 10839450"/>
              <a:gd name="connsiteX2" fmla="*/ 4710618 w 4710618"/>
              <a:gd name="connsiteY2" fmla="*/ 10839450 h 10839450"/>
              <a:gd name="connsiteX3" fmla="*/ 0 w 4710618"/>
              <a:gd name="connsiteY3" fmla="*/ 10839450 h 10839450"/>
              <a:gd name="connsiteX4" fmla="*/ 0 w 4710618"/>
              <a:gd name="connsiteY4" fmla="*/ 0 h 10839450"/>
              <a:gd name="connsiteX0" fmla="*/ 0 w 4710618"/>
              <a:gd name="connsiteY0" fmla="*/ 0 h 10839450"/>
              <a:gd name="connsiteX1" fmla="*/ 3872418 w 4710618"/>
              <a:gd name="connsiteY1" fmla="*/ 1447800 h 10839450"/>
              <a:gd name="connsiteX2" fmla="*/ 4710618 w 4710618"/>
              <a:gd name="connsiteY2" fmla="*/ 10839450 h 10839450"/>
              <a:gd name="connsiteX3" fmla="*/ 0 w 4710618"/>
              <a:gd name="connsiteY3" fmla="*/ 10839450 h 10839450"/>
              <a:gd name="connsiteX4" fmla="*/ 0 w 4710618"/>
              <a:gd name="connsiteY4" fmla="*/ 0 h 10839450"/>
              <a:gd name="connsiteX0" fmla="*/ 0 w 4710618"/>
              <a:gd name="connsiteY0" fmla="*/ 0 h 10839450"/>
              <a:gd name="connsiteX1" fmla="*/ 3319968 w 4710618"/>
              <a:gd name="connsiteY1" fmla="*/ 1257300 h 10839450"/>
              <a:gd name="connsiteX2" fmla="*/ 3872418 w 4710618"/>
              <a:gd name="connsiteY2" fmla="*/ 1447800 h 10839450"/>
              <a:gd name="connsiteX3" fmla="*/ 4710618 w 4710618"/>
              <a:gd name="connsiteY3" fmla="*/ 10839450 h 10839450"/>
              <a:gd name="connsiteX4" fmla="*/ 0 w 4710618"/>
              <a:gd name="connsiteY4" fmla="*/ 10839450 h 10839450"/>
              <a:gd name="connsiteX5" fmla="*/ 0 w 4710618"/>
              <a:gd name="connsiteY5" fmla="*/ 0 h 10839450"/>
              <a:gd name="connsiteX0" fmla="*/ 0 w 4710618"/>
              <a:gd name="connsiteY0" fmla="*/ 0 h 10839450"/>
              <a:gd name="connsiteX1" fmla="*/ 3434268 w 4710618"/>
              <a:gd name="connsiteY1" fmla="*/ 1047750 h 10839450"/>
              <a:gd name="connsiteX2" fmla="*/ 3872418 w 4710618"/>
              <a:gd name="connsiteY2" fmla="*/ 1447800 h 10839450"/>
              <a:gd name="connsiteX3" fmla="*/ 4710618 w 4710618"/>
              <a:gd name="connsiteY3" fmla="*/ 10839450 h 10839450"/>
              <a:gd name="connsiteX4" fmla="*/ 0 w 4710618"/>
              <a:gd name="connsiteY4" fmla="*/ 10839450 h 10839450"/>
              <a:gd name="connsiteX5" fmla="*/ 0 w 4710618"/>
              <a:gd name="connsiteY5" fmla="*/ 0 h 10839450"/>
              <a:gd name="connsiteX0" fmla="*/ 0 w 4710618"/>
              <a:gd name="connsiteY0" fmla="*/ 0 h 10839450"/>
              <a:gd name="connsiteX1" fmla="*/ 3434268 w 4710618"/>
              <a:gd name="connsiteY1" fmla="*/ 1047750 h 10839450"/>
              <a:gd name="connsiteX2" fmla="*/ 3872418 w 4710618"/>
              <a:gd name="connsiteY2" fmla="*/ 1447800 h 10839450"/>
              <a:gd name="connsiteX3" fmla="*/ 4710618 w 4710618"/>
              <a:gd name="connsiteY3" fmla="*/ 10839450 h 10839450"/>
              <a:gd name="connsiteX4" fmla="*/ 0 w 4710618"/>
              <a:gd name="connsiteY4" fmla="*/ 10839450 h 10839450"/>
              <a:gd name="connsiteX5" fmla="*/ 0 w 4710618"/>
              <a:gd name="connsiteY5" fmla="*/ 0 h 10839450"/>
              <a:gd name="connsiteX0" fmla="*/ 0 w 4710618"/>
              <a:gd name="connsiteY0" fmla="*/ 0 h 10839450"/>
              <a:gd name="connsiteX1" fmla="*/ 3434268 w 4710618"/>
              <a:gd name="connsiteY1" fmla="*/ 1047750 h 10839450"/>
              <a:gd name="connsiteX2" fmla="*/ 3872418 w 4710618"/>
              <a:gd name="connsiteY2" fmla="*/ 1447800 h 10839450"/>
              <a:gd name="connsiteX3" fmla="*/ 4710618 w 4710618"/>
              <a:gd name="connsiteY3" fmla="*/ 10839450 h 10839450"/>
              <a:gd name="connsiteX4" fmla="*/ 0 w 4710618"/>
              <a:gd name="connsiteY4" fmla="*/ 10839450 h 10839450"/>
              <a:gd name="connsiteX5" fmla="*/ 0 w 4710618"/>
              <a:gd name="connsiteY5" fmla="*/ 0 h 10839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10618" h="10839450">
                <a:moveTo>
                  <a:pt x="0" y="0"/>
                </a:moveTo>
                <a:lnTo>
                  <a:pt x="3434268" y="1047750"/>
                </a:lnTo>
                <a:cubicBezTo>
                  <a:pt x="3679378" y="1158240"/>
                  <a:pt x="3833048" y="1268730"/>
                  <a:pt x="3872418" y="1447800"/>
                </a:cubicBezTo>
                <a:lnTo>
                  <a:pt x="4710618" y="10839450"/>
                </a:lnTo>
                <a:lnTo>
                  <a:pt x="0" y="10839450"/>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900"/>
          </a:p>
        </p:txBody>
      </p:sp>
      <p:sp>
        <p:nvSpPr>
          <p:cNvPr id="9" name="Retângulo 3">
            <a:extLst>
              <a:ext uri="{FF2B5EF4-FFF2-40B4-BE49-F238E27FC236}">
                <a16:creationId xmlns:a16="http://schemas.microsoft.com/office/drawing/2014/main" id="{C1D82060-371C-1CD3-5EB9-28A3A6A47026}"/>
              </a:ext>
            </a:extLst>
          </p:cNvPr>
          <p:cNvSpPr/>
          <p:nvPr userDrawn="1"/>
        </p:nvSpPr>
        <p:spPr>
          <a:xfrm>
            <a:off x="0" y="1253067"/>
            <a:ext cx="2424360" cy="5604935"/>
          </a:xfrm>
          <a:custGeom>
            <a:avLst/>
            <a:gdLst>
              <a:gd name="connsiteX0" fmla="*/ 0 w 3572933"/>
              <a:gd name="connsiteY0" fmla="*/ 0 h 11209867"/>
              <a:gd name="connsiteX1" fmla="*/ 3572933 w 3572933"/>
              <a:gd name="connsiteY1" fmla="*/ 0 h 11209867"/>
              <a:gd name="connsiteX2" fmla="*/ 3572933 w 3572933"/>
              <a:gd name="connsiteY2" fmla="*/ 11209867 h 11209867"/>
              <a:gd name="connsiteX3" fmla="*/ 0 w 3572933"/>
              <a:gd name="connsiteY3" fmla="*/ 11209867 h 11209867"/>
              <a:gd name="connsiteX4" fmla="*/ 0 w 3572933"/>
              <a:gd name="connsiteY4" fmla="*/ 0 h 11209867"/>
              <a:gd name="connsiteX0" fmla="*/ 0 w 4842933"/>
              <a:gd name="connsiteY0" fmla="*/ 0 h 11209867"/>
              <a:gd name="connsiteX1" fmla="*/ 4842933 w 4842933"/>
              <a:gd name="connsiteY1" fmla="*/ 3708400 h 11209867"/>
              <a:gd name="connsiteX2" fmla="*/ 3572933 w 4842933"/>
              <a:gd name="connsiteY2" fmla="*/ 11209867 h 11209867"/>
              <a:gd name="connsiteX3" fmla="*/ 0 w 4842933"/>
              <a:gd name="connsiteY3" fmla="*/ 11209867 h 11209867"/>
              <a:gd name="connsiteX4" fmla="*/ 0 w 4842933"/>
              <a:gd name="connsiteY4" fmla="*/ 0 h 11209867"/>
              <a:gd name="connsiteX0" fmla="*/ 0 w 4842933"/>
              <a:gd name="connsiteY0" fmla="*/ 0 h 11209867"/>
              <a:gd name="connsiteX1" fmla="*/ 4572001 w 4842933"/>
              <a:gd name="connsiteY1" fmla="*/ 3471334 h 11209867"/>
              <a:gd name="connsiteX2" fmla="*/ 4842933 w 4842933"/>
              <a:gd name="connsiteY2" fmla="*/ 3708400 h 11209867"/>
              <a:gd name="connsiteX3" fmla="*/ 3572933 w 4842933"/>
              <a:gd name="connsiteY3" fmla="*/ 11209867 h 11209867"/>
              <a:gd name="connsiteX4" fmla="*/ 0 w 4842933"/>
              <a:gd name="connsiteY4" fmla="*/ 11209867 h 11209867"/>
              <a:gd name="connsiteX5" fmla="*/ 0 w 4842933"/>
              <a:gd name="connsiteY5" fmla="*/ 0 h 11209867"/>
              <a:gd name="connsiteX0" fmla="*/ 0 w 4842933"/>
              <a:gd name="connsiteY0" fmla="*/ 0 h 11209867"/>
              <a:gd name="connsiteX1" fmla="*/ 4588935 w 4842933"/>
              <a:gd name="connsiteY1" fmla="*/ 3183467 h 11209867"/>
              <a:gd name="connsiteX2" fmla="*/ 4842933 w 4842933"/>
              <a:gd name="connsiteY2" fmla="*/ 3708400 h 11209867"/>
              <a:gd name="connsiteX3" fmla="*/ 3572933 w 4842933"/>
              <a:gd name="connsiteY3" fmla="*/ 11209867 h 11209867"/>
              <a:gd name="connsiteX4" fmla="*/ 0 w 4842933"/>
              <a:gd name="connsiteY4" fmla="*/ 11209867 h 11209867"/>
              <a:gd name="connsiteX5" fmla="*/ 0 w 4842933"/>
              <a:gd name="connsiteY5" fmla="*/ 0 h 11209867"/>
              <a:gd name="connsiteX0" fmla="*/ 0 w 4844683"/>
              <a:gd name="connsiteY0" fmla="*/ 0 h 11209867"/>
              <a:gd name="connsiteX1" fmla="*/ 4588935 w 4844683"/>
              <a:gd name="connsiteY1" fmla="*/ 3183467 h 11209867"/>
              <a:gd name="connsiteX2" fmla="*/ 4842933 w 4844683"/>
              <a:gd name="connsiteY2" fmla="*/ 3708400 h 11209867"/>
              <a:gd name="connsiteX3" fmla="*/ 3572933 w 4844683"/>
              <a:gd name="connsiteY3" fmla="*/ 11209867 h 11209867"/>
              <a:gd name="connsiteX4" fmla="*/ 0 w 4844683"/>
              <a:gd name="connsiteY4" fmla="*/ 11209867 h 11209867"/>
              <a:gd name="connsiteX5" fmla="*/ 0 w 4844683"/>
              <a:gd name="connsiteY5" fmla="*/ 0 h 11209867"/>
              <a:gd name="connsiteX0" fmla="*/ 0 w 4846133"/>
              <a:gd name="connsiteY0" fmla="*/ 0 h 11209867"/>
              <a:gd name="connsiteX1" fmla="*/ 4588935 w 4846133"/>
              <a:gd name="connsiteY1" fmla="*/ 3183467 h 11209867"/>
              <a:gd name="connsiteX2" fmla="*/ 4842933 w 4846133"/>
              <a:gd name="connsiteY2" fmla="*/ 3708400 h 11209867"/>
              <a:gd name="connsiteX3" fmla="*/ 3572933 w 4846133"/>
              <a:gd name="connsiteY3" fmla="*/ 11209867 h 11209867"/>
              <a:gd name="connsiteX4" fmla="*/ 0 w 4846133"/>
              <a:gd name="connsiteY4" fmla="*/ 11209867 h 11209867"/>
              <a:gd name="connsiteX5" fmla="*/ 0 w 4846133"/>
              <a:gd name="connsiteY5" fmla="*/ 0 h 11209867"/>
              <a:gd name="connsiteX0" fmla="*/ 0 w 4847457"/>
              <a:gd name="connsiteY0" fmla="*/ 0 h 11209867"/>
              <a:gd name="connsiteX1" fmla="*/ 4588935 w 4847457"/>
              <a:gd name="connsiteY1" fmla="*/ 3183467 h 11209867"/>
              <a:gd name="connsiteX2" fmla="*/ 4842933 w 4847457"/>
              <a:gd name="connsiteY2" fmla="*/ 3708400 h 11209867"/>
              <a:gd name="connsiteX3" fmla="*/ 3572933 w 4847457"/>
              <a:gd name="connsiteY3" fmla="*/ 11209867 h 11209867"/>
              <a:gd name="connsiteX4" fmla="*/ 0 w 4847457"/>
              <a:gd name="connsiteY4" fmla="*/ 11209867 h 11209867"/>
              <a:gd name="connsiteX5" fmla="*/ 0 w 4847457"/>
              <a:gd name="connsiteY5" fmla="*/ 0 h 11209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47457" h="11209867">
                <a:moveTo>
                  <a:pt x="0" y="0"/>
                </a:moveTo>
                <a:lnTo>
                  <a:pt x="4588935" y="3183467"/>
                </a:lnTo>
                <a:cubicBezTo>
                  <a:pt x="4810761" y="3350825"/>
                  <a:pt x="4864947" y="3472462"/>
                  <a:pt x="4842933" y="3708400"/>
                </a:cubicBezTo>
                <a:lnTo>
                  <a:pt x="3572933" y="11209867"/>
                </a:lnTo>
                <a:lnTo>
                  <a:pt x="0" y="11209867"/>
                </a:lnTo>
                <a:lnTo>
                  <a:pt x="0" y="0"/>
                </a:lnTo>
                <a:close/>
              </a:path>
            </a:pathLst>
          </a:custGeom>
          <a:solidFill>
            <a:srgbClr val="0076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900"/>
          </a:p>
        </p:txBody>
      </p:sp>
      <p:sp>
        <p:nvSpPr>
          <p:cNvPr id="16" name="CaixaDeTexto 15">
            <a:extLst>
              <a:ext uri="{FF2B5EF4-FFF2-40B4-BE49-F238E27FC236}">
                <a16:creationId xmlns:a16="http://schemas.microsoft.com/office/drawing/2014/main" id="{F303E966-8D5F-3326-3279-A2AD80F1A242}"/>
              </a:ext>
            </a:extLst>
          </p:cNvPr>
          <p:cNvSpPr txBox="1"/>
          <p:nvPr userDrawn="1"/>
        </p:nvSpPr>
        <p:spPr>
          <a:xfrm>
            <a:off x="143340" y="2176610"/>
            <a:ext cx="2112235" cy="666977"/>
          </a:xfrm>
          <a:prstGeom prst="rect">
            <a:avLst/>
          </a:prstGeom>
          <a:noFill/>
        </p:spPr>
        <p:txBody>
          <a:bodyPr wrap="square" rtlCol="0">
            <a:spAutoFit/>
          </a:bodyPr>
          <a:lstStyle/>
          <a:p>
            <a:r>
              <a:rPr lang="pt-BR" sz="1867" i="1">
                <a:solidFill>
                  <a:schemeClr val="bg1"/>
                </a:solidFill>
                <a:latin typeface="Trebuchet MS" panose="020B0603020202020204" pitchFamily="34" charset="0"/>
              </a:rPr>
              <a:t>Malha </a:t>
            </a:r>
          </a:p>
          <a:p>
            <a:r>
              <a:rPr lang="pt-BR" sz="1867" i="1">
                <a:solidFill>
                  <a:schemeClr val="bg1"/>
                </a:solidFill>
                <a:latin typeface="Trebuchet MS" panose="020B0603020202020204" pitchFamily="34" charset="0"/>
              </a:rPr>
              <a:t>Logística</a:t>
            </a:r>
          </a:p>
        </p:txBody>
      </p:sp>
      <p:pic>
        <p:nvPicPr>
          <p:cNvPr id="17" name="Imagem 16">
            <a:extLst>
              <a:ext uri="{FF2B5EF4-FFF2-40B4-BE49-F238E27FC236}">
                <a16:creationId xmlns:a16="http://schemas.microsoft.com/office/drawing/2014/main" id="{99BA7C92-B773-A188-6093-92C87645555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6557" y="4582376"/>
            <a:ext cx="527307" cy="553267"/>
          </a:xfrm>
          <a:prstGeom prst="rect">
            <a:avLst/>
          </a:prstGeom>
        </p:spPr>
      </p:pic>
      <p:pic>
        <p:nvPicPr>
          <p:cNvPr id="18" name="Imagem 17">
            <a:extLst>
              <a:ext uri="{FF2B5EF4-FFF2-40B4-BE49-F238E27FC236}">
                <a16:creationId xmlns:a16="http://schemas.microsoft.com/office/drawing/2014/main" id="{81F7A9F0-9183-F204-3E03-1134A79DB5EC}"/>
              </a:ext>
            </a:extLst>
          </p:cNvPr>
          <p:cNvPicPr/>
          <p:nvPr userDrawn="1"/>
        </p:nvPicPr>
        <p:blipFill>
          <a:blip r:embed="rId4" cstate="print">
            <a:extLst>
              <a:ext uri="{28A0092B-C50C-407E-A947-70E740481C1C}">
                <a14:useLocalDpi xmlns:a14="http://schemas.microsoft.com/office/drawing/2010/main" val="0"/>
              </a:ext>
            </a:extLst>
          </a:blip>
          <a:stretch>
            <a:fillRect/>
          </a:stretch>
        </p:blipFill>
        <p:spPr>
          <a:xfrm>
            <a:off x="151601" y="5129489"/>
            <a:ext cx="475459" cy="500063"/>
          </a:xfrm>
          <a:prstGeom prst="ellipse">
            <a:avLst/>
          </a:prstGeom>
        </p:spPr>
      </p:pic>
      <p:sp>
        <p:nvSpPr>
          <p:cNvPr id="19" name="CaixaDeTexto 18">
            <a:extLst>
              <a:ext uri="{FF2B5EF4-FFF2-40B4-BE49-F238E27FC236}">
                <a16:creationId xmlns:a16="http://schemas.microsoft.com/office/drawing/2014/main" id="{A87C1548-D767-4E9B-72F7-344B54EC6E7D}"/>
              </a:ext>
            </a:extLst>
          </p:cNvPr>
          <p:cNvSpPr txBox="1"/>
          <p:nvPr userDrawn="1"/>
        </p:nvSpPr>
        <p:spPr>
          <a:xfrm>
            <a:off x="643865" y="4719480"/>
            <a:ext cx="954785" cy="256545"/>
          </a:xfrm>
          <a:prstGeom prst="rect">
            <a:avLst/>
          </a:prstGeom>
          <a:noFill/>
        </p:spPr>
        <p:txBody>
          <a:bodyPr wrap="square" rtlCol="0">
            <a:spAutoFit/>
          </a:bodyPr>
          <a:lstStyle/>
          <a:p>
            <a:r>
              <a:rPr lang="pt-BR" sz="1067">
                <a:solidFill>
                  <a:schemeClr val="bg1"/>
                </a:solidFill>
                <a:latin typeface="Trebuchet MS" panose="020B0603020202020204" pitchFamily="34" charset="0"/>
              </a:rPr>
              <a:t>Terminais</a:t>
            </a:r>
          </a:p>
        </p:txBody>
      </p:sp>
      <p:sp>
        <p:nvSpPr>
          <p:cNvPr id="20" name="CaixaDeTexto 19">
            <a:extLst>
              <a:ext uri="{FF2B5EF4-FFF2-40B4-BE49-F238E27FC236}">
                <a16:creationId xmlns:a16="http://schemas.microsoft.com/office/drawing/2014/main" id="{B20DFDC0-A33A-7A36-6E9A-BEBE44DFF736}"/>
              </a:ext>
            </a:extLst>
          </p:cNvPr>
          <p:cNvSpPr txBox="1"/>
          <p:nvPr userDrawn="1"/>
        </p:nvSpPr>
        <p:spPr>
          <a:xfrm>
            <a:off x="666831" y="5265181"/>
            <a:ext cx="1143163" cy="256545"/>
          </a:xfrm>
          <a:prstGeom prst="rect">
            <a:avLst/>
          </a:prstGeom>
          <a:noFill/>
        </p:spPr>
        <p:txBody>
          <a:bodyPr wrap="square" rtlCol="0">
            <a:spAutoFit/>
          </a:bodyPr>
          <a:lstStyle/>
          <a:p>
            <a:r>
              <a:rPr lang="pt-BR" sz="1067">
                <a:solidFill>
                  <a:schemeClr val="bg1"/>
                </a:solidFill>
                <a:latin typeface="Trebuchet MS" panose="020B0603020202020204" pitchFamily="34" charset="0"/>
              </a:rPr>
              <a:t>Refinarias</a:t>
            </a:r>
          </a:p>
        </p:txBody>
      </p:sp>
      <p:pic>
        <p:nvPicPr>
          <p:cNvPr id="21" name="Imagem 20">
            <a:extLst>
              <a:ext uri="{FF2B5EF4-FFF2-40B4-BE49-F238E27FC236}">
                <a16:creationId xmlns:a16="http://schemas.microsoft.com/office/drawing/2014/main" id="{9B42102B-F24F-1136-A105-8C59DDFBF8A4}"/>
              </a:ext>
            </a:extLst>
          </p:cNvPr>
          <p:cNvPicPr/>
          <p:nvPr userDrawn="1"/>
        </p:nvPicPr>
        <p:blipFill rotWithShape="1">
          <a:blip r:embed="rId5" cstate="print">
            <a:extLst>
              <a:ext uri="{28A0092B-C50C-407E-A947-70E740481C1C}">
                <a14:useLocalDpi xmlns:a14="http://schemas.microsoft.com/office/drawing/2010/main" val="0"/>
              </a:ext>
            </a:extLst>
          </a:blip>
          <a:srcRect/>
          <a:stretch/>
        </p:blipFill>
        <p:spPr>
          <a:xfrm>
            <a:off x="122482" y="5663924"/>
            <a:ext cx="482916" cy="494744"/>
          </a:xfrm>
          <a:prstGeom prst="ellipse">
            <a:avLst/>
          </a:prstGeom>
        </p:spPr>
      </p:pic>
      <p:sp>
        <p:nvSpPr>
          <p:cNvPr id="22" name="CaixaDeTexto 21">
            <a:extLst>
              <a:ext uri="{FF2B5EF4-FFF2-40B4-BE49-F238E27FC236}">
                <a16:creationId xmlns:a16="http://schemas.microsoft.com/office/drawing/2014/main" id="{7B7DA5FC-F40C-5C94-CF55-546E85D55C03}"/>
              </a:ext>
            </a:extLst>
          </p:cNvPr>
          <p:cNvSpPr txBox="1"/>
          <p:nvPr userDrawn="1"/>
        </p:nvSpPr>
        <p:spPr>
          <a:xfrm>
            <a:off x="676525" y="5806155"/>
            <a:ext cx="1123775" cy="256545"/>
          </a:xfrm>
          <a:prstGeom prst="rect">
            <a:avLst/>
          </a:prstGeom>
          <a:noFill/>
        </p:spPr>
        <p:txBody>
          <a:bodyPr wrap="square" rtlCol="0">
            <a:spAutoFit/>
          </a:bodyPr>
          <a:lstStyle/>
          <a:p>
            <a:r>
              <a:rPr lang="pt-BR" sz="1067">
                <a:solidFill>
                  <a:schemeClr val="bg1"/>
                </a:solidFill>
                <a:latin typeface="Trebuchet MS" panose="020B0603020202020204" pitchFamily="34" charset="0"/>
              </a:rPr>
              <a:t>Distribuidoras</a:t>
            </a:r>
          </a:p>
        </p:txBody>
      </p:sp>
      <p:pic>
        <p:nvPicPr>
          <p:cNvPr id="23" name="Imagem 22">
            <a:extLst>
              <a:ext uri="{FF2B5EF4-FFF2-40B4-BE49-F238E27FC236}">
                <a16:creationId xmlns:a16="http://schemas.microsoft.com/office/drawing/2014/main" id="{F22987EF-BEAB-7E2E-9ED4-7115B5BF1C39}"/>
              </a:ext>
            </a:extLst>
          </p:cNvPr>
          <p:cNvPicPr/>
          <p:nvPr userDrawn="1"/>
        </p:nvPicPr>
        <p:blipFill>
          <a:blip r:embed="rId6">
            <a:extLst>
              <a:ext uri="{28A0092B-C50C-407E-A947-70E740481C1C}">
                <a14:useLocalDpi xmlns:a14="http://schemas.microsoft.com/office/drawing/2010/main" val="0"/>
              </a:ext>
            </a:extLst>
          </a:blip>
          <a:stretch>
            <a:fillRect/>
          </a:stretch>
        </p:blipFill>
        <p:spPr>
          <a:xfrm>
            <a:off x="122482" y="6208763"/>
            <a:ext cx="521383" cy="514351"/>
          </a:xfrm>
          <a:prstGeom prst="ellipse">
            <a:avLst/>
          </a:prstGeom>
        </p:spPr>
      </p:pic>
      <p:sp>
        <p:nvSpPr>
          <p:cNvPr id="24" name="CaixaDeTexto 23">
            <a:extLst>
              <a:ext uri="{FF2B5EF4-FFF2-40B4-BE49-F238E27FC236}">
                <a16:creationId xmlns:a16="http://schemas.microsoft.com/office/drawing/2014/main" id="{B6E3AAAB-6B8A-BF8A-7551-FCCFB4215728}"/>
              </a:ext>
            </a:extLst>
          </p:cNvPr>
          <p:cNvSpPr txBox="1"/>
          <p:nvPr userDrawn="1"/>
        </p:nvSpPr>
        <p:spPr>
          <a:xfrm>
            <a:off x="676126" y="6343391"/>
            <a:ext cx="1025393" cy="256545"/>
          </a:xfrm>
          <a:prstGeom prst="rect">
            <a:avLst/>
          </a:prstGeom>
          <a:noFill/>
        </p:spPr>
        <p:txBody>
          <a:bodyPr wrap="square" rtlCol="0">
            <a:spAutoFit/>
          </a:bodyPr>
          <a:lstStyle/>
          <a:p>
            <a:r>
              <a:rPr lang="pt-BR" sz="1067">
                <a:solidFill>
                  <a:schemeClr val="bg1"/>
                </a:solidFill>
                <a:latin typeface="Trebuchet MS" panose="020B0603020202020204" pitchFamily="34" charset="0"/>
              </a:rPr>
              <a:t>Estações</a:t>
            </a:r>
          </a:p>
        </p:txBody>
      </p:sp>
      <p:sp>
        <p:nvSpPr>
          <p:cNvPr id="25" name="CaixaDeTexto 24">
            <a:extLst>
              <a:ext uri="{FF2B5EF4-FFF2-40B4-BE49-F238E27FC236}">
                <a16:creationId xmlns:a16="http://schemas.microsoft.com/office/drawing/2014/main" id="{2DC24D85-213C-A457-8E85-B8E99C97A009}"/>
              </a:ext>
            </a:extLst>
          </p:cNvPr>
          <p:cNvSpPr txBox="1"/>
          <p:nvPr userDrawn="1"/>
        </p:nvSpPr>
        <p:spPr>
          <a:xfrm>
            <a:off x="231640" y="871399"/>
            <a:ext cx="468398" cy="177100"/>
          </a:xfrm>
          <a:prstGeom prst="rect">
            <a:avLst/>
          </a:prstGeom>
          <a:noFill/>
        </p:spPr>
        <p:txBody>
          <a:bodyPr wrap="none" rtlCol="0">
            <a:spAutoFit/>
          </a:bodyPr>
          <a:lstStyle/>
          <a:p>
            <a:r>
              <a:rPr lang="pt-BR" sz="551">
                <a:solidFill>
                  <a:srgbClr val="383637"/>
                </a:solidFill>
              </a:rPr>
              <a:t>Terminal</a:t>
            </a:r>
          </a:p>
        </p:txBody>
      </p:sp>
      <p:sp>
        <p:nvSpPr>
          <p:cNvPr id="26" name="Elipse 25">
            <a:extLst>
              <a:ext uri="{FF2B5EF4-FFF2-40B4-BE49-F238E27FC236}">
                <a16:creationId xmlns:a16="http://schemas.microsoft.com/office/drawing/2014/main" id="{D2C7B30C-E6B0-3582-DD4D-52C18322928C}"/>
              </a:ext>
            </a:extLst>
          </p:cNvPr>
          <p:cNvSpPr/>
          <p:nvPr userDrawn="1"/>
        </p:nvSpPr>
        <p:spPr>
          <a:xfrm>
            <a:off x="11294400" y="6025857"/>
            <a:ext cx="653893" cy="65372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800" b="1"/>
              <a:t>I</a:t>
            </a:r>
          </a:p>
        </p:txBody>
      </p:sp>
      <p:sp>
        <p:nvSpPr>
          <p:cNvPr id="27" name="CaixaDeTexto 26">
            <a:extLst>
              <a:ext uri="{FF2B5EF4-FFF2-40B4-BE49-F238E27FC236}">
                <a16:creationId xmlns:a16="http://schemas.microsoft.com/office/drawing/2014/main" id="{5532E81C-4179-6C2F-D80E-AB264C66FB4D}"/>
              </a:ext>
            </a:extLst>
          </p:cNvPr>
          <p:cNvSpPr txBox="1"/>
          <p:nvPr userDrawn="1"/>
        </p:nvSpPr>
        <p:spPr>
          <a:xfrm>
            <a:off x="655522" y="3641503"/>
            <a:ext cx="1484621" cy="420756"/>
          </a:xfrm>
          <a:prstGeom prst="rect">
            <a:avLst/>
          </a:prstGeom>
          <a:noFill/>
        </p:spPr>
        <p:txBody>
          <a:bodyPr wrap="square" rtlCol="0">
            <a:spAutoFit/>
          </a:bodyPr>
          <a:lstStyle/>
          <a:p>
            <a:r>
              <a:rPr lang="pt-BR" sz="1067" dirty="0">
                <a:solidFill>
                  <a:schemeClr val="bg1"/>
                </a:solidFill>
                <a:latin typeface="Trebuchet MS" panose="020B0603020202020204" pitchFamily="34" charset="0"/>
              </a:rPr>
              <a:t>Oleoduto de Petróleo</a:t>
            </a:r>
          </a:p>
        </p:txBody>
      </p:sp>
      <p:sp>
        <p:nvSpPr>
          <p:cNvPr id="28" name="CaixaDeTexto 27">
            <a:extLst>
              <a:ext uri="{FF2B5EF4-FFF2-40B4-BE49-F238E27FC236}">
                <a16:creationId xmlns:a16="http://schemas.microsoft.com/office/drawing/2014/main" id="{E588B26D-D0E9-89EF-073D-93200E56587D}"/>
              </a:ext>
            </a:extLst>
          </p:cNvPr>
          <p:cNvSpPr txBox="1"/>
          <p:nvPr userDrawn="1"/>
        </p:nvSpPr>
        <p:spPr>
          <a:xfrm>
            <a:off x="666830" y="3984571"/>
            <a:ext cx="1515567" cy="420756"/>
          </a:xfrm>
          <a:prstGeom prst="rect">
            <a:avLst/>
          </a:prstGeom>
          <a:noFill/>
        </p:spPr>
        <p:txBody>
          <a:bodyPr wrap="square" rtlCol="0">
            <a:spAutoFit/>
          </a:bodyPr>
          <a:lstStyle/>
          <a:p>
            <a:r>
              <a:rPr lang="pt-BR" sz="1067" dirty="0">
                <a:solidFill>
                  <a:schemeClr val="bg1"/>
                </a:solidFill>
                <a:latin typeface="Trebuchet MS" panose="020B0603020202020204" pitchFamily="34" charset="0"/>
              </a:rPr>
              <a:t>Oleoduto de Derivados</a:t>
            </a:r>
          </a:p>
        </p:txBody>
      </p:sp>
      <p:pic>
        <p:nvPicPr>
          <p:cNvPr id="29" name="Imagem 28">
            <a:extLst>
              <a:ext uri="{FF2B5EF4-FFF2-40B4-BE49-F238E27FC236}">
                <a16:creationId xmlns:a16="http://schemas.microsoft.com/office/drawing/2014/main" id="{E19EFBE9-6A14-AB6C-DF72-9DEE2403FE6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85627" y="3601732"/>
            <a:ext cx="469895" cy="289827"/>
          </a:xfrm>
          <a:prstGeom prst="rect">
            <a:avLst/>
          </a:prstGeom>
        </p:spPr>
      </p:pic>
      <p:pic>
        <p:nvPicPr>
          <p:cNvPr id="30" name="Imagem 29">
            <a:extLst>
              <a:ext uri="{FF2B5EF4-FFF2-40B4-BE49-F238E27FC236}">
                <a16:creationId xmlns:a16="http://schemas.microsoft.com/office/drawing/2014/main" id="{D7CC213F-B8E5-644D-DCB1-A8CC5D5627D7}"/>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57440" y="3958624"/>
            <a:ext cx="527307" cy="293059"/>
          </a:xfrm>
          <a:prstGeom prst="rect">
            <a:avLst/>
          </a:prstGeom>
        </p:spPr>
      </p:pic>
      <p:sp>
        <p:nvSpPr>
          <p:cNvPr id="31" name="CaixaDeTexto 30">
            <a:extLst>
              <a:ext uri="{FF2B5EF4-FFF2-40B4-BE49-F238E27FC236}">
                <a16:creationId xmlns:a16="http://schemas.microsoft.com/office/drawing/2014/main" id="{16D3864C-9182-FFB7-8EB7-0830D0859F58}"/>
              </a:ext>
            </a:extLst>
          </p:cNvPr>
          <p:cNvSpPr txBox="1"/>
          <p:nvPr userDrawn="1"/>
        </p:nvSpPr>
        <p:spPr>
          <a:xfrm>
            <a:off x="133714" y="2828837"/>
            <a:ext cx="1464935" cy="369332"/>
          </a:xfrm>
          <a:prstGeom prst="rect">
            <a:avLst/>
          </a:prstGeom>
          <a:noFill/>
        </p:spPr>
        <p:txBody>
          <a:bodyPr wrap="square" rtlCol="0">
            <a:spAutoFit/>
          </a:bodyPr>
          <a:lstStyle/>
          <a:p>
            <a:pPr defTabSz="1218835"/>
            <a:r>
              <a:rPr lang="pt-BR" sz="1800" b="1" dirty="0">
                <a:solidFill>
                  <a:srgbClr val="FFC000"/>
                </a:solidFill>
                <a:latin typeface="Calibri" panose="020F0502020204030204"/>
              </a:rPr>
              <a:t>São Paulo</a:t>
            </a:r>
          </a:p>
        </p:txBody>
      </p:sp>
    </p:spTree>
    <p:extLst>
      <p:ext uri="{BB962C8B-B14F-4D97-AF65-F5344CB8AC3E}">
        <p14:creationId xmlns:p14="http://schemas.microsoft.com/office/powerpoint/2010/main" val="3316589306"/>
      </p:ext>
    </p:extLst>
  </p:cSld>
  <p:clrMapOvr>
    <a:masterClrMapping/>
  </p:clrMapOvr>
  <p:transition spd="med">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Layout Personalizado">
    <p:spTree>
      <p:nvGrpSpPr>
        <p:cNvPr id="1" name=""/>
        <p:cNvGrpSpPr/>
        <p:nvPr/>
      </p:nvGrpSpPr>
      <p:grpSpPr>
        <a:xfrm>
          <a:off x="0" y="0"/>
          <a:ext cx="0" cy="0"/>
          <a:chOff x="0" y="0"/>
          <a:chExt cx="0" cy="0"/>
        </a:xfrm>
      </p:grpSpPr>
      <p:pic>
        <p:nvPicPr>
          <p:cNvPr id="6" name="Imagem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cxnSp>
        <p:nvCxnSpPr>
          <p:cNvPr id="8" name="Conector reto 7"/>
          <p:cNvCxnSpPr>
            <a:stCxn id="29" idx="0"/>
            <a:endCxn id="35" idx="0"/>
          </p:cNvCxnSpPr>
          <p:nvPr userDrawn="1"/>
        </p:nvCxnSpPr>
        <p:spPr>
          <a:xfrm flipV="1">
            <a:off x="6389915" y="1083131"/>
            <a:ext cx="58423" cy="1144363"/>
          </a:xfrm>
          <a:prstGeom prst="line">
            <a:avLst/>
          </a:prstGeom>
          <a:ln w="19050"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 name="Conector reto 9"/>
          <p:cNvCxnSpPr>
            <a:stCxn id="34" idx="4"/>
            <a:endCxn id="35" idx="3"/>
          </p:cNvCxnSpPr>
          <p:nvPr userDrawn="1"/>
        </p:nvCxnSpPr>
        <p:spPr>
          <a:xfrm>
            <a:off x="3135087" y="848749"/>
            <a:ext cx="3097724" cy="689667"/>
          </a:xfrm>
          <a:prstGeom prst="line">
            <a:avLst/>
          </a:prstGeom>
          <a:ln w="1905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Conector reto 10"/>
          <p:cNvCxnSpPr>
            <a:stCxn id="31" idx="5"/>
            <a:endCxn id="32" idx="2"/>
          </p:cNvCxnSpPr>
          <p:nvPr userDrawn="1"/>
        </p:nvCxnSpPr>
        <p:spPr>
          <a:xfrm>
            <a:off x="5088359" y="3475924"/>
            <a:ext cx="1033155" cy="720523"/>
          </a:xfrm>
          <a:prstGeom prst="line">
            <a:avLst/>
          </a:prstGeom>
          <a:ln w="1905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Conector reto 12"/>
          <p:cNvCxnSpPr/>
          <p:nvPr userDrawn="1"/>
        </p:nvCxnSpPr>
        <p:spPr>
          <a:xfrm flipH="1">
            <a:off x="6165797" y="4477703"/>
            <a:ext cx="134031" cy="1839007"/>
          </a:xfrm>
          <a:prstGeom prst="line">
            <a:avLst/>
          </a:prstGeom>
          <a:ln w="1905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Conector reto 14"/>
          <p:cNvCxnSpPr>
            <a:stCxn id="34" idx="5"/>
            <a:endCxn id="35" idx="2"/>
          </p:cNvCxnSpPr>
          <p:nvPr userDrawn="1"/>
        </p:nvCxnSpPr>
        <p:spPr>
          <a:xfrm>
            <a:off x="3442742" y="736607"/>
            <a:ext cx="2700796" cy="613223"/>
          </a:xfrm>
          <a:prstGeom prst="line">
            <a:avLst/>
          </a:prstGeom>
          <a:ln w="1905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6" name="Conector reto 15"/>
          <p:cNvCxnSpPr>
            <a:stCxn id="31" idx="6"/>
            <a:endCxn id="32" idx="1"/>
          </p:cNvCxnSpPr>
          <p:nvPr userDrawn="1"/>
        </p:nvCxnSpPr>
        <p:spPr>
          <a:xfrm>
            <a:off x="5166972" y="3282045"/>
            <a:ext cx="1033155" cy="720523"/>
          </a:xfrm>
          <a:prstGeom prst="line">
            <a:avLst/>
          </a:prstGeom>
          <a:ln w="1905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7" name="Conector reto 16"/>
          <p:cNvCxnSpPr/>
          <p:nvPr userDrawn="1"/>
        </p:nvCxnSpPr>
        <p:spPr>
          <a:xfrm flipH="1">
            <a:off x="6312949" y="4484775"/>
            <a:ext cx="153931" cy="1970340"/>
          </a:xfrm>
          <a:prstGeom prst="line">
            <a:avLst/>
          </a:prstGeom>
          <a:ln w="1905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9" name="Conector reto 18"/>
          <p:cNvCxnSpPr/>
          <p:nvPr userDrawn="1"/>
        </p:nvCxnSpPr>
        <p:spPr>
          <a:xfrm flipH="1">
            <a:off x="4891767" y="1524002"/>
            <a:ext cx="1498151" cy="2043111"/>
          </a:xfrm>
          <a:prstGeom prst="line">
            <a:avLst/>
          </a:prstGeom>
          <a:ln w="1905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3" name="Conector reto 22"/>
          <p:cNvCxnSpPr>
            <a:cxnSpLocks/>
            <a:stCxn id="31" idx="7"/>
            <a:endCxn id="35" idx="3"/>
          </p:cNvCxnSpPr>
          <p:nvPr userDrawn="1"/>
        </p:nvCxnSpPr>
        <p:spPr>
          <a:xfrm flipV="1">
            <a:off x="5088359" y="1538417"/>
            <a:ext cx="1144452" cy="1549753"/>
          </a:xfrm>
          <a:prstGeom prst="line">
            <a:avLst/>
          </a:prstGeom>
          <a:ln w="1905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Conector reto 26"/>
          <p:cNvCxnSpPr>
            <a:stCxn id="34" idx="6"/>
            <a:endCxn id="30" idx="2"/>
          </p:cNvCxnSpPr>
          <p:nvPr userDrawn="1"/>
        </p:nvCxnSpPr>
        <p:spPr>
          <a:xfrm flipV="1">
            <a:off x="3570178" y="357192"/>
            <a:ext cx="2954109" cy="108685"/>
          </a:xfrm>
          <a:prstGeom prst="line">
            <a:avLst/>
          </a:prstGeom>
          <a:ln w="1905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30" name="Imagem 29"/>
          <p:cNvPicPr/>
          <p:nvPr userDrawn="1"/>
        </p:nvPicPr>
        <p:blipFill>
          <a:blip r:embed="rId3">
            <a:extLst>
              <a:ext uri="{28A0092B-C50C-407E-A947-70E740481C1C}">
                <a14:useLocalDpi xmlns:a14="http://schemas.microsoft.com/office/drawing/2010/main" val="0"/>
              </a:ext>
            </a:extLst>
          </a:blip>
          <a:stretch>
            <a:fillRect/>
          </a:stretch>
        </p:blipFill>
        <p:spPr>
          <a:xfrm>
            <a:off x="6524285" y="83010"/>
            <a:ext cx="536803" cy="548367"/>
          </a:xfrm>
          <a:prstGeom prst="ellipse">
            <a:avLst/>
          </a:prstGeom>
          <a:scene3d>
            <a:camera prst="perspectiveFront"/>
            <a:lightRig rig="threePt" dir="t"/>
          </a:scene3d>
        </p:spPr>
      </p:pic>
      <p:pic>
        <p:nvPicPr>
          <p:cNvPr id="31" name="Imagem 30"/>
          <p:cNvPicPr/>
          <p:nvPr userDrawn="1"/>
        </p:nvPicPr>
        <p:blipFill>
          <a:blip r:embed="rId3">
            <a:extLst>
              <a:ext uri="{28A0092B-C50C-407E-A947-70E740481C1C}">
                <a14:useLocalDpi xmlns:a14="http://schemas.microsoft.com/office/drawing/2010/main" val="0"/>
              </a:ext>
            </a:extLst>
          </a:blip>
          <a:stretch>
            <a:fillRect/>
          </a:stretch>
        </p:blipFill>
        <p:spPr>
          <a:xfrm>
            <a:off x="4630171" y="3007863"/>
            <a:ext cx="536803" cy="548367"/>
          </a:xfrm>
          <a:prstGeom prst="ellipse">
            <a:avLst/>
          </a:prstGeom>
          <a:scene3d>
            <a:camera prst="perspectiveFront"/>
            <a:lightRig rig="threePt" dir="t"/>
          </a:scene3d>
        </p:spPr>
      </p:pic>
      <p:pic>
        <p:nvPicPr>
          <p:cNvPr id="32" name="Imagem 31"/>
          <p:cNvPicPr/>
          <p:nvPr userDrawn="1"/>
        </p:nvPicPr>
        <p:blipFill>
          <a:blip r:embed="rId3">
            <a:extLst>
              <a:ext uri="{28A0092B-C50C-407E-A947-70E740481C1C}">
                <a14:useLocalDpi xmlns:a14="http://schemas.microsoft.com/office/drawing/2010/main" val="0"/>
              </a:ext>
            </a:extLst>
          </a:blip>
          <a:stretch>
            <a:fillRect/>
          </a:stretch>
        </p:blipFill>
        <p:spPr>
          <a:xfrm>
            <a:off x="6121515" y="3922263"/>
            <a:ext cx="536803" cy="548367"/>
          </a:xfrm>
          <a:prstGeom prst="ellipse">
            <a:avLst/>
          </a:prstGeom>
          <a:scene3d>
            <a:camera prst="perspectiveFront"/>
            <a:lightRig rig="threePt" dir="t"/>
          </a:scene3d>
        </p:spPr>
      </p:pic>
      <p:pic>
        <p:nvPicPr>
          <p:cNvPr id="33" name="Imagem 32"/>
          <p:cNvPicPr/>
          <p:nvPr userDrawn="1"/>
        </p:nvPicPr>
        <p:blipFill>
          <a:blip r:embed="rId3">
            <a:extLst>
              <a:ext uri="{28A0092B-C50C-407E-A947-70E740481C1C}">
                <a14:useLocalDpi xmlns:a14="http://schemas.microsoft.com/office/drawing/2010/main" val="0"/>
              </a:ext>
            </a:extLst>
          </a:blip>
          <a:stretch>
            <a:fillRect/>
          </a:stretch>
        </p:blipFill>
        <p:spPr>
          <a:xfrm>
            <a:off x="5987485" y="6309638"/>
            <a:ext cx="536803" cy="548367"/>
          </a:xfrm>
          <a:prstGeom prst="ellipse">
            <a:avLst/>
          </a:prstGeom>
          <a:scene3d>
            <a:camera prst="perspectiveFront"/>
            <a:lightRig rig="threePt" dir="t"/>
          </a:scene3d>
        </p:spPr>
      </p:pic>
      <p:pic>
        <p:nvPicPr>
          <p:cNvPr id="34" name="Imagem 33"/>
          <p:cNvPicPr/>
          <p:nvPr userDrawn="1"/>
        </p:nvPicPr>
        <p:blipFill>
          <a:blip r:embed="rId4">
            <a:extLst>
              <a:ext uri="{28A0092B-C50C-407E-A947-70E740481C1C}">
                <a14:useLocalDpi xmlns:a14="http://schemas.microsoft.com/office/drawing/2010/main" val="0"/>
              </a:ext>
            </a:extLst>
          </a:blip>
          <a:stretch>
            <a:fillRect/>
          </a:stretch>
        </p:blipFill>
        <p:spPr>
          <a:xfrm>
            <a:off x="2699999" y="83006"/>
            <a:ext cx="870179" cy="765743"/>
          </a:xfrm>
          <a:prstGeom prst="ellipse">
            <a:avLst/>
          </a:prstGeom>
          <a:scene3d>
            <a:camera prst="obliqueTopLeft"/>
            <a:lightRig rig="threePt" dir="t"/>
          </a:scene3d>
          <a:sp3d/>
        </p:spPr>
      </p:pic>
      <p:pic>
        <p:nvPicPr>
          <p:cNvPr id="35" name="Imagem 34"/>
          <p:cNvPicPr/>
          <p:nvPr userDrawn="1"/>
        </p:nvPicPr>
        <p:blipFill>
          <a:blip r:embed="rId5">
            <a:extLst>
              <a:ext uri="{28A0092B-C50C-407E-A947-70E740481C1C}">
                <a14:useLocalDpi xmlns:a14="http://schemas.microsoft.com/office/drawing/2010/main" val="0"/>
              </a:ext>
            </a:extLst>
          </a:blip>
          <a:stretch>
            <a:fillRect/>
          </a:stretch>
        </p:blipFill>
        <p:spPr>
          <a:xfrm>
            <a:off x="6143537" y="1083129"/>
            <a:ext cx="609600" cy="533400"/>
          </a:xfrm>
          <a:prstGeom prst="ellipse">
            <a:avLst/>
          </a:prstGeom>
          <a:scene3d>
            <a:camera prst="perspectiveHeroicExtremeRightFacing"/>
            <a:lightRig rig="threePt" dir="t"/>
          </a:scene3d>
        </p:spPr>
      </p:pic>
      <p:sp>
        <p:nvSpPr>
          <p:cNvPr id="36" name="CaixaDeTexto 35"/>
          <p:cNvSpPr txBox="1"/>
          <p:nvPr userDrawn="1"/>
        </p:nvSpPr>
        <p:spPr>
          <a:xfrm>
            <a:off x="3505415" y="61839"/>
            <a:ext cx="935832" cy="300210"/>
          </a:xfrm>
          <a:prstGeom prst="rect">
            <a:avLst/>
          </a:prstGeom>
          <a:noFill/>
        </p:spPr>
        <p:txBody>
          <a:bodyPr wrap="square" rtlCol="0">
            <a:spAutoFit/>
          </a:bodyPr>
          <a:lstStyle/>
          <a:p>
            <a:r>
              <a:rPr lang="pt-BR" sz="1351">
                <a:latin typeface="Trebuchet MS" panose="020B0603020202020204" pitchFamily="34" charset="0"/>
              </a:rPr>
              <a:t>REPAR</a:t>
            </a:r>
          </a:p>
        </p:txBody>
      </p:sp>
      <p:sp>
        <p:nvSpPr>
          <p:cNvPr id="38" name="CaixaDeTexto 37"/>
          <p:cNvSpPr txBox="1"/>
          <p:nvPr userDrawn="1"/>
        </p:nvSpPr>
        <p:spPr>
          <a:xfrm>
            <a:off x="5928293" y="81604"/>
            <a:ext cx="923247" cy="300210"/>
          </a:xfrm>
          <a:prstGeom prst="rect">
            <a:avLst/>
          </a:prstGeom>
          <a:noFill/>
        </p:spPr>
        <p:txBody>
          <a:bodyPr wrap="square" rtlCol="0">
            <a:spAutoFit/>
          </a:bodyPr>
          <a:lstStyle/>
          <a:p>
            <a:r>
              <a:rPr lang="pt-BR" sz="1351">
                <a:latin typeface="Trebuchet MS" panose="020B0603020202020204" pitchFamily="34" charset="0"/>
              </a:rPr>
              <a:t>TEPAR</a:t>
            </a:r>
          </a:p>
        </p:txBody>
      </p:sp>
      <p:sp>
        <p:nvSpPr>
          <p:cNvPr id="39" name="CaixaDeTexto 38"/>
          <p:cNvSpPr txBox="1"/>
          <p:nvPr userDrawn="1"/>
        </p:nvSpPr>
        <p:spPr>
          <a:xfrm>
            <a:off x="6093591" y="2778776"/>
            <a:ext cx="985839" cy="300210"/>
          </a:xfrm>
          <a:prstGeom prst="rect">
            <a:avLst/>
          </a:prstGeom>
          <a:noFill/>
        </p:spPr>
        <p:txBody>
          <a:bodyPr wrap="square" rtlCol="0">
            <a:spAutoFit/>
          </a:bodyPr>
          <a:lstStyle/>
          <a:p>
            <a:r>
              <a:rPr lang="pt-BR" sz="1351">
                <a:latin typeface="Trebuchet MS" panose="020B0603020202020204" pitchFamily="34" charset="0"/>
              </a:rPr>
              <a:t>TEFRAN</a:t>
            </a:r>
          </a:p>
        </p:txBody>
      </p:sp>
      <p:sp>
        <p:nvSpPr>
          <p:cNvPr id="40" name="CaixaDeTexto 39"/>
          <p:cNvSpPr txBox="1"/>
          <p:nvPr userDrawn="1"/>
        </p:nvSpPr>
        <p:spPr>
          <a:xfrm>
            <a:off x="6335520" y="872931"/>
            <a:ext cx="1766549" cy="230832"/>
          </a:xfrm>
          <a:prstGeom prst="rect">
            <a:avLst/>
          </a:prstGeom>
          <a:noFill/>
        </p:spPr>
        <p:txBody>
          <a:bodyPr wrap="square" rtlCol="0">
            <a:spAutoFit/>
          </a:bodyPr>
          <a:lstStyle/>
          <a:p>
            <a:r>
              <a:rPr lang="pt-BR" sz="900">
                <a:latin typeface="Trebuchet MS" panose="020B0603020202020204" pitchFamily="34" charset="0"/>
              </a:rPr>
              <a:t>ESTAÇÃO DE ITARARÉ</a:t>
            </a:r>
            <a:endParaRPr lang="pt-BR" sz="1351">
              <a:latin typeface="Trebuchet MS" panose="020B0603020202020204" pitchFamily="34" charset="0"/>
            </a:endParaRPr>
          </a:p>
        </p:txBody>
      </p:sp>
      <p:sp>
        <p:nvSpPr>
          <p:cNvPr id="41" name="CaixaDeTexto 40"/>
          <p:cNvSpPr txBox="1"/>
          <p:nvPr userDrawn="1"/>
        </p:nvSpPr>
        <p:spPr>
          <a:xfrm>
            <a:off x="4328421" y="3611587"/>
            <a:ext cx="1077007" cy="300210"/>
          </a:xfrm>
          <a:prstGeom prst="rect">
            <a:avLst/>
          </a:prstGeom>
          <a:noFill/>
        </p:spPr>
        <p:txBody>
          <a:bodyPr wrap="square" rtlCol="0">
            <a:spAutoFit/>
          </a:bodyPr>
          <a:lstStyle/>
          <a:p>
            <a:r>
              <a:rPr lang="pt-BR" sz="1351">
                <a:latin typeface="Trebuchet MS" panose="020B0603020202020204" pitchFamily="34" charset="0"/>
              </a:rPr>
              <a:t>TEMIRIM</a:t>
            </a:r>
          </a:p>
        </p:txBody>
      </p:sp>
      <p:sp>
        <p:nvSpPr>
          <p:cNvPr id="42" name="CaixaDeTexto 41"/>
          <p:cNvSpPr txBox="1"/>
          <p:nvPr userDrawn="1"/>
        </p:nvSpPr>
        <p:spPr>
          <a:xfrm>
            <a:off x="5604938" y="4306523"/>
            <a:ext cx="1077007" cy="300210"/>
          </a:xfrm>
          <a:prstGeom prst="rect">
            <a:avLst/>
          </a:prstGeom>
          <a:noFill/>
        </p:spPr>
        <p:txBody>
          <a:bodyPr wrap="square" rtlCol="0">
            <a:spAutoFit/>
          </a:bodyPr>
          <a:lstStyle/>
          <a:p>
            <a:r>
              <a:rPr lang="pt-BR" sz="1351">
                <a:latin typeface="Trebuchet MS" panose="020B0603020202020204" pitchFamily="34" charset="0"/>
              </a:rPr>
              <a:t>TEJAÍ</a:t>
            </a:r>
          </a:p>
        </p:txBody>
      </p:sp>
      <p:sp>
        <p:nvSpPr>
          <p:cNvPr id="43" name="CaixaDeTexto 42"/>
          <p:cNvSpPr txBox="1"/>
          <p:nvPr userDrawn="1"/>
        </p:nvSpPr>
        <p:spPr>
          <a:xfrm>
            <a:off x="5102679" y="6477224"/>
            <a:ext cx="1190285" cy="300210"/>
          </a:xfrm>
          <a:prstGeom prst="rect">
            <a:avLst/>
          </a:prstGeom>
          <a:noFill/>
        </p:spPr>
        <p:txBody>
          <a:bodyPr wrap="square" rtlCol="0">
            <a:spAutoFit/>
          </a:bodyPr>
          <a:lstStyle/>
          <a:p>
            <a:r>
              <a:rPr lang="pt-BR" sz="1351">
                <a:latin typeface="Trebuchet MS" panose="020B0603020202020204" pitchFamily="34" charset="0"/>
              </a:rPr>
              <a:t>TEGUAÇU</a:t>
            </a:r>
          </a:p>
        </p:txBody>
      </p:sp>
      <p:sp>
        <p:nvSpPr>
          <p:cNvPr id="44" name="CaixaDeTexto 43"/>
          <p:cNvSpPr txBox="1"/>
          <p:nvPr userDrawn="1"/>
        </p:nvSpPr>
        <p:spPr>
          <a:xfrm>
            <a:off x="143340" y="216404"/>
            <a:ext cx="2623797" cy="400110"/>
          </a:xfrm>
          <a:prstGeom prst="rect">
            <a:avLst/>
          </a:prstGeom>
          <a:noFill/>
        </p:spPr>
        <p:txBody>
          <a:bodyPr wrap="square" rtlCol="0">
            <a:spAutoFit/>
          </a:bodyPr>
          <a:lstStyle/>
          <a:p>
            <a:r>
              <a:rPr lang="pt-BR" sz="2000" b="1">
                <a:latin typeface="Trebuchet MS" panose="020B0603020202020204" pitchFamily="34" charset="0"/>
              </a:rPr>
              <a:t>PR/SC</a:t>
            </a:r>
          </a:p>
        </p:txBody>
      </p:sp>
      <p:sp>
        <p:nvSpPr>
          <p:cNvPr id="53" name="Retângulo 52">
            <a:extLst>
              <a:ext uri="{FF2B5EF4-FFF2-40B4-BE49-F238E27FC236}">
                <a16:creationId xmlns:a16="http://schemas.microsoft.com/office/drawing/2014/main" id="{947B2CE9-739F-7046-D875-8FD8E987A3DF}"/>
              </a:ext>
            </a:extLst>
          </p:cNvPr>
          <p:cNvSpPr/>
          <p:nvPr userDrawn="1"/>
        </p:nvSpPr>
        <p:spPr>
          <a:xfrm>
            <a:off x="0" y="1908237"/>
            <a:ext cx="3905560" cy="4949764"/>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900"/>
          </a:p>
        </p:txBody>
      </p:sp>
      <p:cxnSp>
        <p:nvCxnSpPr>
          <p:cNvPr id="28" name="Conector reto 27"/>
          <p:cNvCxnSpPr/>
          <p:nvPr userDrawn="1"/>
        </p:nvCxnSpPr>
        <p:spPr>
          <a:xfrm flipH="1" flipV="1">
            <a:off x="6549463" y="2630011"/>
            <a:ext cx="879189" cy="13651"/>
          </a:xfrm>
          <a:prstGeom prst="line">
            <a:avLst/>
          </a:prstGeom>
          <a:ln w="19050"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7" name="Conector reto 36"/>
          <p:cNvCxnSpPr/>
          <p:nvPr userDrawn="1"/>
        </p:nvCxnSpPr>
        <p:spPr>
          <a:xfrm flipH="1" flipV="1">
            <a:off x="6549462" y="2588260"/>
            <a:ext cx="879189" cy="13651"/>
          </a:xfrm>
          <a:prstGeom prst="line">
            <a:avLst/>
          </a:prstGeom>
          <a:ln w="19050"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29" name="Imagem 28"/>
          <p:cNvPicPr/>
          <p:nvPr userDrawn="1"/>
        </p:nvPicPr>
        <p:blipFill>
          <a:blip r:embed="rId3">
            <a:extLst>
              <a:ext uri="{28A0092B-C50C-407E-A947-70E740481C1C}">
                <a14:useLocalDpi xmlns:a14="http://schemas.microsoft.com/office/drawing/2010/main" val="0"/>
              </a:ext>
            </a:extLst>
          </a:blip>
          <a:stretch>
            <a:fillRect/>
          </a:stretch>
        </p:blipFill>
        <p:spPr>
          <a:xfrm>
            <a:off x="6121515" y="2227494"/>
            <a:ext cx="536803" cy="548367"/>
          </a:xfrm>
          <a:prstGeom prst="ellipse">
            <a:avLst/>
          </a:prstGeom>
          <a:scene3d>
            <a:camera prst="perspectiveFront"/>
            <a:lightRig rig="threePt" dir="t"/>
          </a:scene3d>
        </p:spPr>
      </p:pic>
      <p:sp>
        <p:nvSpPr>
          <p:cNvPr id="54" name="Retângulo 4">
            <a:extLst>
              <a:ext uri="{FF2B5EF4-FFF2-40B4-BE49-F238E27FC236}">
                <a16:creationId xmlns:a16="http://schemas.microsoft.com/office/drawing/2014/main" id="{F7B83E54-B851-20A9-A1F7-1CA6722D4AC0}"/>
              </a:ext>
            </a:extLst>
          </p:cNvPr>
          <p:cNvSpPr/>
          <p:nvPr userDrawn="1"/>
        </p:nvSpPr>
        <p:spPr>
          <a:xfrm>
            <a:off x="1807" y="1438276"/>
            <a:ext cx="2355923" cy="5419725"/>
          </a:xfrm>
          <a:custGeom>
            <a:avLst/>
            <a:gdLst>
              <a:gd name="connsiteX0" fmla="*/ 0 w 4710618"/>
              <a:gd name="connsiteY0" fmla="*/ 0 h 10839450"/>
              <a:gd name="connsiteX1" fmla="*/ 4710618 w 4710618"/>
              <a:gd name="connsiteY1" fmla="*/ 0 h 10839450"/>
              <a:gd name="connsiteX2" fmla="*/ 4710618 w 4710618"/>
              <a:gd name="connsiteY2" fmla="*/ 10839450 h 10839450"/>
              <a:gd name="connsiteX3" fmla="*/ 0 w 4710618"/>
              <a:gd name="connsiteY3" fmla="*/ 10839450 h 10839450"/>
              <a:gd name="connsiteX4" fmla="*/ 0 w 4710618"/>
              <a:gd name="connsiteY4" fmla="*/ 0 h 10839450"/>
              <a:gd name="connsiteX0" fmla="*/ 0 w 4710618"/>
              <a:gd name="connsiteY0" fmla="*/ 0 h 10839450"/>
              <a:gd name="connsiteX1" fmla="*/ 3224718 w 4710618"/>
              <a:gd name="connsiteY1" fmla="*/ 1581150 h 10839450"/>
              <a:gd name="connsiteX2" fmla="*/ 4710618 w 4710618"/>
              <a:gd name="connsiteY2" fmla="*/ 10839450 h 10839450"/>
              <a:gd name="connsiteX3" fmla="*/ 0 w 4710618"/>
              <a:gd name="connsiteY3" fmla="*/ 10839450 h 10839450"/>
              <a:gd name="connsiteX4" fmla="*/ 0 w 4710618"/>
              <a:gd name="connsiteY4" fmla="*/ 0 h 10839450"/>
              <a:gd name="connsiteX0" fmla="*/ 0 w 4710618"/>
              <a:gd name="connsiteY0" fmla="*/ 0 h 10839450"/>
              <a:gd name="connsiteX1" fmla="*/ 3872418 w 4710618"/>
              <a:gd name="connsiteY1" fmla="*/ 1447800 h 10839450"/>
              <a:gd name="connsiteX2" fmla="*/ 4710618 w 4710618"/>
              <a:gd name="connsiteY2" fmla="*/ 10839450 h 10839450"/>
              <a:gd name="connsiteX3" fmla="*/ 0 w 4710618"/>
              <a:gd name="connsiteY3" fmla="*/ 10839450 h 10839450"/>
              <a:gd name="connsiteX4" fmla="*/ 0 w 4710618"/>
              <a:gd name="connsiteY4" fmla="*/ 0 h 10839450"/>
              <a:gd name="connsiteX0" fmla="*/ 0 w 4710618"/>
              <a:gd name="connsiteY0" fmla="*/ 0 h 10839450"/>
              <a:gd name="connsiteX1" fmla="*/ 3319968 w 4710618"/>
              <a:gd name="connsiteY1" fmla="*/ 1257300 h 10839450"/>
              <a:gd name="connsiteX2" fmla="*/ 3872418 w 4710618"/>
              <a:gd name="connsiteY2" fmla="*/ 1447800 h 10839450"/>
              <a:gd name="connsiteX3" fmla="*/ 4710618 w 4710618"/>
              <a:gd name="connsiteY3" fmla="*/ 10839450 h 10839450"/>
              <a:gd name="connsiteX4" fmla="*/ 0 w 4710618"/>
              <a:gd name="connsiteY4" fmla="*/ 10839450 h 10839450"/>
              <a:gd name="connsiteX5" fmla="*/ 0 w 4710618"/>
              <a:gd name="connsiteY5" fmla="*/ 0 h 10839450"/>
              <a:gd name="connsiteX0" fmla="*/ 0 w 4710618"/>
              <a:gd name="connsiteY0" fmla="*/ 0 h 10839450"/>
              <a:gd name="connsiteX1" fmla="*/ 3434268 w 4710618"/>
              <a:gd name="connsiteY1" fmla="*/ 1047750 h 10839450"/>
              <a:gd name="connsiteX2" fmla="*/ 3872418 w 4710618"/>
              <a:gd name="connsiteY2" fmla="*/ 1447800 h 10839450"/>
              <a:gd name="connsiteX3" fmla="*/ 4710618 w 4710618"/>
              <a:gd name="connsiteY3" fmla="*/ 10839450 h 10839450"/>
              <a:gd name="connsiteX4" fmla="*/ 0 w 4710618"/>
              <a:gd name="connsiteY4" fmla="*/ 10839450 h 10839450"/>
              <a:gd name="connsiteX5" fmla="*/ 0 w 4710618"/>
              <a:gd name="connsiteY5" fmla="*/ 0 h 10839450"/>
              <a:gd name="connsiteX0" fmla="*/ 0 w 4710618"/>
              <a:gd name="connsiteY0" fmla="*/ 0 h 10839450"/>
              <a:gd name="connsiteX1" fmla="*/ 3434268 w 4710618"/>
              <a:gd name="connsiteY1" fmla="*/ 1047750 h 10839450"/>
              <a:gd name="connsiteX2" fmla="*/ 3872418 w 4710618"/>
              <a:gd name="connsiteY2" fmla="*/ 1447800 h 10839450"/>
              <a:gd name="connsiteX3" fmla="*/ 4710618 w 4710618"/>
              <a:gd name="connsiteY3" fmla="*/ 10839450 h 10839450"/>
              <a:gd name="connsiteX4" fmla="*/ 0 w 4710618"/>
              <a:gd name="connsiteY4" fmla="*/ 10839450 h 10839450"/>
              <a:gd name="connsiteX5" fmla="*/ 0 w 4710618"/>
              <a:gd name="connsiteY5" fmla="*/ 0 h 10839450"/>
              <a:gd name="connsiteX0" fmla="*/ 0 w 4710618"/>
              <a:gd name="connsiteY0" fmla="*/ 0 h 10839450"/>
              <a:gd name="connsiteX1" fmla="*/ 3434268 w 4710618"/>
              <a:gd name="connsiteY1" fmla="*/ 1047750 h 10839450"/>
              <a:gd name="connsiteX2" fmla="*/ 3872418 w 4710618"/>
              <a:gd name="connsiteY2" fmla="*/ 1447800 h 10839450"/>
              <a:gd name="connsiteX3" fmla="*/ 4710618 w 4710618"/>
              <a:gd name="connsiteY3" fmla="*/ 10839450 h 10839450"/>
              <a:gd name="connsiteX4" fmla="*/ 0 w 4710618"/>
              <a:gd name="connsiteY4" fmla="*/ 10839450 h 10839450"/>
              <a:gd name="connsiteX5" fmla="*/ 0 w 4710618"/>
              <a:gd name="connsiteY5" fmla="*/ 0 h 10839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10618" h="10839450">
                <a:moveTo>
                  <a:pt x="0" y="0"/>
                </a:moveTo>
                <a:lnTo>
                  <a:pt x="3434268" y="1047750"/>
                </a:lnTo>
                <a:cubicBezTo>
                  <a:pt x="3679378" y="1158240"/>
                  <a:pt x="3833048" y="1268730"/>
                  <a:pt x="3872418" y="1447800"/>
                </a:cubicBezTo>
                <a:lnTo>
                  <a:pt x="4710618" y="10839450"/>
                </a:lnTo>
                <a:lnTo>
                  <a:pt x="0" y="10839450"/>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900"/>
          </a:p>
        </p:txBody>
      </p:sp>
      <p:sp>
        <p:nvSpPr>
          <p:cNvPr id="55" name="Retângulo 3">
            <a:extLst>
              <a:ext uri="{FF2B5EF4-FFF2-40B4-BE49-F238E27FC236}">
                <a16:creationId xmlns:a16="http://schemas.microsoft.com/office/drawing/2014/main" id="{B8407283-32F6-FF74-0115-039E2B23F416}"/>
              </a:ext>
            </a:extLst>
          </p:cNvPr>
          <p:cNvSpPr/>
          <p:nvPr userDrawn="1"/>
        </p:nvSpPr>
        <p:spPr>
          <a:xfrm>
            <a:off x="0" y="1253067"/>
            <a:ext cx="2424360" cy="5604935"/>
          </a:xfrm>
          <a:custGeom>
            <a:avLst/>
            <a:gdLst>
              <a:gd name="connsiteX0" fmla="*/ 0 w 3572933"/>
              <a:gd name="connsiteY0" fmla="*/ 0 h 11209867"/>
              <a:gd name="connsiteX1" fmla="*/ 3572933 w 3572933"/>
              <a:gd name="connsiteY1" fmla="*/ 0 h 11209867"/>
              <a:gd name="connsiteX2" fmla="*/ 3572933 w 3572933"/>
              <a:gd name="connsiteY2" fmla="*/ 11209867 h 11209867"/>
              <a:gd name="connsiteX3" fmla="*/ 0 w 3572933"/>
              <a:gd name="connsiteY3" fmla="*/ 11209867 h 11209867"/>
              <a:gd name="connsiteX4" fmla="*/ 0 w 3572933"/>
              <a:gd name="connsiteY4" fmla="*/ 0 h 11209867"/>
              <a:gd name="connsiteX0" fmla="*/ 0 w 4842933"/>
              <a:gd name="connsiteY0" fmla="*/ 0 h 11209867"/>
              <a:gd name="connsiteX1" fmla="*/ 4842933 w 4842933"/>
              <a:gd name="connsiteY1" fmla="*/ 3708400 h 11209867"/>
              <a:gd name="connsiteX2" fmla="*/ 3572933 w 4842933"/>
              <a:gd name="connsiteY2" fmla="*/ 11209867 h 11209867"/>
              <a:gd name="connsiteX3" fmla="*/ 0 w 4842933"/>
              <a:gd name="connsiteY3" fmla="*/ 11209867 h 11209867"/>
              <a:gd name="connsiteX4" fmla="*/ 0 w 4842933"/>
              <a:gd name="connsiteY4" fmla="*/ 0 h 11209867"/>
              <a:gd name="connsiteX0" fmla="*/ 0 w 4842933"/>
              <a:gd name="connsiteY0" fmla="*/ 0 h 11209867"/>
              <a:gd name="connsiteX1" fmla="*/ 4572001 w 4842933"/>
              <a:gd name="connsiteY1" fmla="*/ 3471334 h 11209867"/>
              <a:gd name="connsiteX2" fmla="*/ 4842933 w 4842933"/>
              <a:gd name="connsiteY2" fmla="*/ 3708400 h 11209867"/>
              <a:gd name="connsiteX3" fmla="*/ 3572933 w 4842933"/>
              <a:gd name="connsiteY3" fmla="*/ 11209867 h 11209867"/>
              <a:gd name="connsiteX4" fmla="*/ 0 w 4842933"/>
              <a:gd name="connsiteY4" fmla="*/ 11209867 h 11209867"/>
              <a:gd name="connsiteX5" fmla="*/ 0 w 4842933"/>
              <a:gd name="connsiteY5" fmla="*/ 0 h 11209867"/>
              <a:gd name="connsiteX0" fmla="*/ 0 w 4842933"/>
              <a:gd name="connsiteY0" fmla="*/ 0 h 11209867"/>
              <a:gd name="connsiteX1" fmla="*/ 4588935 w 4842933"/>
              <a:gd name="connsiteY1" fmla="*/ 3183467 h 11209867"/>
              <a:gd name="connsiteX2" fmla="*/ 4842933 w 4842933"/>
              <a:gd name="connsiteY2" fmla="*/ 3708400 h 11209867"/>
              <a:gd name="connsiteX3" fmla="*/ 3572933 w 4842933"/>
              <a:gd name="connsiteY3" fmla="*/ 11209867 h 11209867"/>
              <a:gd name="connsiteX4" fmla="*/ 0 w 4842933"/>
              <a:gd name="connsiteY4" fmla="*/ 11209867 h 11209867"/>
              <a:gd name="connsiteX5" fmla="*/ 0 w 4842933"/>
              <a:gd name="connsiteY5" fmla="*/ 0 h 11209867"/>
              <a:gd name="connsiteX0" fmla="*/ 0 w 4844683"/>
              <a:gd name="connsiteY0" fmla="*/ 0 h 11209867"/>
              <a:gd name="connsiteX1" fmla="*/ 4588935 w 4844683"/>
              <a:gd name="connsiteY1" fmla="*/ 3183467 h 11209867"/>
              <a:gd name="connsiteX2" fmla="*/ 4842933 w 4844683"/>
              <a:gd name="connsiteY2" fmla="*/ 3708400 h 11209867"/>
              <a:gd name="connsiteX3" fmla="*/ 3572933 w 4844683"/>
              <a:gd name="connsiteY3" fmla="*/ 11209867 h 11209867"/>
              <a:gd name="connsiteX4" fmla="*/ 0 w 4844683"/>
              <a:gd name="connsiteY4" fmla="*/ 11209867 h 11209867"/>
              <a:gd name="connsiteX5" fmla="*/ 0 w 4844683"/>
              <a:gd name="connsiteY5" fmla="*/ 0 h 11209867"/>
              <a:gd name="connsiteX0" fmla="*/ 0 w 4846133"/>
              <a:gd name="connsiteY0" fmla="*/ 0 h 11209867"/>
              <a:gd name="connsiteX1" fmla="*/ 4588935 w 4846133"/>
              <a:gd name="connsiteY1" fmla="*/ 3183467 h 11209867"/>
              <a:gd name="connsiteX2" fmla="*/ 4842933 w 4846133"/>
              <a:gd name="connsiteY2" fmla="*/ 3708400 h 11209867"/>
              <a:gd name="connsiteX3" fmla="*/ 3572933 w 4846133"/>
              <a:gd name="connsiteY3" fmla="*/ 11209867 h 11209867"/>
              <a:gd name="connsiteX4" fmla="*/ 0 w 4846133"/>
              <a:gd name="connsiteY4" fmla="*/ 11209867 h 11209867"/>
              <a:gd name="connsiteX5" fmla="*/ 0 w 4846133"/>
              <a:gd name="connsiteY5" fmla="*/ 0 h 11209867"/>
              <a:gd name="connsiteX0" fmla="*/ 0 w 4847457"/>
              <a:gd name="connsiteY0" fmla="*/ 0 h 11209867"/>
              <a:gd name="connsiteX1" fmla="*/ 4588935 w 4847457"/>
              <a:gd name="connsiteY1" fmla="*/ 3183467 h 11209867"/>
              <a:gd name="connsiteX2" fmla="*/ 4842933 w 4847457"/>
              <a:gd name="connsiteY2" fmla="*/ 3708400 h 11209867"/>
              <a:gd name="connsiteX3" fmla="*/ 3572933 w 4847457"/>
              <a:gd name="connsiteY3" fmla="*/ 11209867 h 11209867"/>
              <a:gd name="connsiteX4" fmla="*/ 0 w 4847457"/>
              <a:gd name="connsiteY4" fmla="*/ 11209867 h 11209867"/>
              <a:gd name="connsiteX5" fmla="*/ 0 w 4847457"/>
              <a:gd name="connsiteY5" fmla="*/ 0 h 11209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47457" h="11209867">
                <a:moveTo>
                  <a:pt x="0" y="0"/>
                </a:moveTo>
                <a:lnTo>
                  <a:pt x="4588935" y="3183467"/>
                </a:lnTo>
                <a:cubicBezTo>
                  <a:pt x="4810761" y="3350825"/>
                  <a:pt x="4864947" y="3472462"/>
                  <a:pt x="4842933" y="3708400"/>
                </a:cubicBezTo>
                <a:lnTo>
                  <a:pt x="3572933" y="11209867"/>
                </a:lnTo>
                <a:lnTo>
                  <a:pt x="0" y="11209867"/>
                </a:lnTo>
                <a:lnTo>
                  <a:pt x="0" y="0"/>
                </a:lnTo>
                <a:close/>
              </a:path>
            </a:pathLst>
          </a:custGeom>
          <a:solidFill>
            <a:srgbClr val="0076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900"/>
          </a:p>
        </p:txBody>
      </p:sp>
      <p:sp>
        <p:nvSpPr>
          <p:cNvPr id="45" name="CaixaDeTexto 44"/>
          <p:cNvSpPr txBox="1"/>
          <p:nvPr userDrawn="1"/>
        </p:nvSpPr>
        <p:spPr>
          <a:xfrm>
            <a:off x="7218795" y="2012050"/>
            <a:ext cx="770333" cy="215444"/>
          </a:xfrm>
          <a:prstGeom prst="rect">
            <a:avLst/>
          </a:prstGeom>
          <a:noFill/>
        </p:spPr>
        <p:txBody>
          <a:bodyPr wrap="square" rtlCol="0">
            <a:spAutoFit/>
          </a:bodyPr>
          <a:lstStyle/>
          <a:p>
            <a:r>
              <a:rPr lang="pt-BR" sz="800">
                <a:latin typeface="Trebuchet MS" panose="020B0603020202020204" pitchFamily="34" charset="0"/>
              </a:rPr>
              <a:t>OSPAR</a:t>
            </a:r>
            <a:r>
              <a:rPr lang="pt-BR" sz="800" baseline="0">
                <a:latin typeface="Trebuchet MS" panose="020B0603020202020204" pitchFamily="34" charset="0"/>
              </a:rPr>
              <a:t> 34’’</a:t>
            </a:r>
            <a:endParaRPr lang="pt-BR" sz="1200">
              <a:latin typeface="Trebuchet MS" panose="020B0603020202020204" pitchFamily="34" charset="0"/>
            </a:endParaRPr>
          </a:p>
        </p:txBody>
      </p:sp>
      <p:sp>
        <p:nvSpPr>
          <p:cNvPr id="46" name="CaixaDeTexto 45"/>
          <p:cNvSpPr txBox="1"/>
          <p:nvPr userDrawn="1"/>
        </p:nvSpPr>
        <p:spPr>
          <a:xfrm rot="263430">
            <a:off x="4834478" y="707508"/>
            <a:ext cx="770333" cy="215444"/>
          </a:xfrm>
          <a:prstGeom prst="rect">
            <a:avLst/>
          </a:prstGeom>
          <a:noFill/>
        </p:spPr>
        <p:txBody>
          <a:bodyPr wrap="square" rtlCol="0">
            <a:spAutoFit/>
          </a:bodyPr>
          <a:lstStyle/>
          <a:p>
            <a:r>
              <a:rPr lang="pt-BR" sz="800">
                <a:latin typeface="Trebuchet MS" panose="020B0603020202020204" pitchFamily="34" charset="0"/>
              </a:rPr>
              <a:t>OSPAR</a:t>
            </a:r>
            <a:r>
              <a:rPr lang="pt-BR" sz="800" baseline="0">
                <a:latin typeface="Trebuchet MS" panose="020B0603020202020204" pitchFamily="34" charset="0"/>
              </a:rPr>
              <a:t> 30’’</a:t>
            </a:r>
            <a:endParaRPr lang="pt-BR" sz="1200">
              <a:latin typeface="Trebuchet MS" panose="020B0603020202020204" pitchFamily="34" charset="0"/>
            </a:endParaRPr>
          </a:p>
        </p:txBody>
      </p:sp>
      <p:sp>
        <p:nvSpPr>
          <p:cNvPr id="47" name="CaixaDeTexto 46"/>
          <p:cNvSpPr txBox="1"/>
          <p:nvPr userDrawn="1"/>
        </p:nvSpPr>
        <p:spPr>
          <a:xfrm>
            <a:off x="4643867" y="199762"/>
            <a:ext cx="770333" cy="215444"/>
          </a:xfrm>
          <a:prstGeom prst="rect">
            <a:avLst/>
          </a:prstGeom>
          <a:noFill/>
        </p:spPr>
        <p:txBody>
          <a:bodyPr wrap="square" rtlCol="0">
            <a:spAutoFit/>
          </a:bodyPr>
          <a:lstStyle/>
          <a:p>
            <a:r>
              <a:rPr lang="pt-BR" sz="800">
                <a:latin typeface="Trebuchet MS" panose="020B0603020202020204" pitchFamily="34" charset="0"/>
              </a:rPr>
              <a:t>OLAPA</a:t>
            </a:r>
            <a:r>
              <a:rPr lang="pt-BR" sz="800" baseline="0">
                <a:latin typeface="Trebuchet MS" panose="020B0603020202020204" pitchFamily="34" charset="0"/>
              </a:rPr>
              <a:t> 12’’</a:t>
            </a:r>
            <a:endParaRPr lang="pt-BR" sz="1200">
              <a:latin typeface="Trebuchet MS" panose="020B0603020202020204" pitchFamily="34" charset="0"/>
            </a:endParaRPr>
          </a:p>
        </p:txBody>
      </p:sp>
      <p:sp>
        <p:nvSpPr>
          <p:cNvPr id="49" name="CaixaDeTexto 48"/>
          <p:cNvSpPr txBox="1"/>
          <p:nvPr userDrawn="1"/>
        </p:nvSpPr>
        <p:spPr>
          <a:xfrm rot="1933184">
            <a:off x="5412322" y="3431331"/>
            <a:ext cx="770333" cy="215444"/>
          </a:xfrm>
          <a:prstGeom prst="rect">
            <a:avLst/>
          </a:prstGeom>
          <a:noFill/>
        </p:spPr>
        <p:txBody>
          <a:bodyPr wrap="square" rtlCol="0">
            <a:spAutoFit/>
          </a:bodyPr>
          <a:lstStyle/>
          <a:p>
            <a:r>
              <a:rPr lang="pt-BR" sz="800">
                <a:latin typeface="Trebuchet MS" panose="020B0603020202020204" pitchFamily="34" charset="0"/>
              </a:rPr>
              <a:t>OPASC 10’’</a:t>
            </a:r>
            <a:endParaRPr lang="pt-BR" sz="1200">
              <a:latin typeface="Trebuchet MS" panose="020B0603020202020204" pitchFamily="34" charset="0"/>
            </a:endParaRPr>
          </a:p>
        </p:txBody>
      </p:sp>
      <p:sp>
        <p:nvSpPr>
          <p:cNvPr id="50" name="CaixaDeTexto 49"/>
          <p:cNvSpPr txBox="1"/>
          <p:nvPr userDrawn="1"/>
        </p:nvSpPr>
        <p:spPr>
          <a:xfrm rot="831342">
            <a:off x="4493676" y="1300002"/>
            <a:ext cx="770333" cy="215444"/>
          </a:xfrm>
          <a:prstGeom prst="rect">
            <a:avLst/>
          </a:prstGeom>
          <a:noFill/>
        </p:spPr>
        <p:txBody>
          <a:bodyPr wrap="square" rtlCol="0">
            <a:spAutoFit/>
          </a:bodyPr>
          <a:lstStyle/>
          <a:p>
            <a:r>
              <a:rPr lang="pt-BR" sz="800">
                <a:latin typeface="Trebuchet MS" panose="020B0603020202020204" pitchFamily="34" charset="0"/>
              </a:rPr>
              <a:t>GASBOL</a:t>
            </a:r>
            <a:endParaRPr lang="pt-BR" sz="1200">
              <a:latin typeface="Trebuchet MS" panose="020B0603020202020204" pitchFamily="34" charset="0"/>
            </a:endParaRPr>
          </a:p>
        </p:txBody>
      </p:sp>
      <p:cxnSp>
        <p:nvCxnSpPr>
          <p:cNvPr id="51" name="Conector reto 50"/>
          <p:cNvCxnSpPr>
            <a:endCxn id="35" idx="1"/>
          </p:cNvCxnSpPr>
          <p:nvPr userDrawn="1"/>
        </p:nvCxnSpPr>
        <p:spPr>
          <a:xfrm>
            <a:off x="3570177" y="596284"/>
            <a:ext cx="2662635" cy="564960"/>
          </a:xfrm>
          <a:prstGeom prst="line">
            <a:avLst/>
          </a:prstGeom>
          <a:ln w="19050"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80" name="CaixaDeTexto 79"/>
          <p:cNvSpPr txBox="1"/>
          <p:nvPr userDrawn="1"/>
        </p:nvSpPr>
        <p:spPr>
          <a:xfrm rot="18264475">
            <a:off x="5117011" y="2272043"/>
            <a:ext cx="770333" cy="215444"/>
          </a:xfrm>
          <a:prstGeom prst="rect">
            <a:avLst/>
          </a:prstGeom>
          <a:noFill/>
        </p:spPr>
        <p:txBody>
          <a:bodyPr wrap="square" rtlCol="0">
            <a:spAutoFit/>
          </a:bodyPr>
          <a:lstStyle/>
          <a:p>
            <a:r>
              <a:rPr lang="pt-BR" sz="800">
                <a:latin typeface="Trebuchet MS" panose="020B0603020202020204" pitchFamily="34" charset="0"/>
              </a:rPr>
              <a:t>GASBOL</a:t>
            </a:r>
            <a:endParaRPr lang="pt-BR" sz="1200">
              <a:latin typeface="Trebuchet MS" panose="020B0603020202020204" pitchFamily="34" charset="0"/>
            </a:endParaRPr>
          </a:p>
        </p:txBody>
      </p:sp>
      <p:sp>
        <p:nvSpPr>
          <p:cNvPr id="81" name="CaixaDeTexto 80"/>
          <p:cNvSpPr txBox="1"/>
          <p:nvPr userDrawn="1"/>
        </p:nvSpPr>
        <p:spPr>
          <a:xfrm rot="705704">
            <a:off x="4632984" y="923595"/>
            <a:ext cx="770333" cy="215444"/>
          </a:xfrm>
          <a:prstGeom prst="rect">
            <a:avLst/>
          </a:prstGeom>
          <a:noFill/>
        </p:spPr>
        <p:txBody>
          <a:bodyPr wrap="square" rtlCol="0">
            <a:spAutoFit/>
          </a:bodyPr>
          <a:lstStyle/>
          <a:p>
            <a:r>
              <a:rPr lang="pt-BR" sz="800">
                <a:latin typeface="Trebuchet MS" panose="020B0603020202020204" pitchFamily="34" charset="0"/>
              </a:rPr>
              <a:t>OPASC 10’’</a:t>
            </a:r>
            <a:endParaRPr lang="pt-BR" sz="1200">
              <a:latin typeface="Trebuchet MS" panose="020B0603020202020204" pitchFamily="34" charset="0"/>
            </a:endParaRPr>
          </a:p>
        </p:txBody>
      </p:sp>
      <p:sp>
        <p:nvSpPr>
          <p:cNvPr id="4" name="CaixaDeTexto 3">
            <a:extLst>
              <a:ext uri="{FF2B5EF4-FFF2-40B4-BE49-F238E27FC236}">
                <a16:creationId xmlns:a16="http://schemas.microsoft.com/office/drawing/2014/main" id="{C320F7B4-2C73-6ECE-45BA-FA6F60F685F9}"/>
              </a:ext>
            </a:extLst>
          </p:cNvPr>
          <p:cNvSpPr txBox="1"/>
          <p:nvPr userDrawn="1"/>
        </p:nvSpPr>
        <p:spPr>
          <a:xfrm>
            <a:off x="655522" y="3641503"/>
            <a:ext cx="1484621" cy="420756"/>
          </a:xfrm>
          <a:prstGeom prst="rect">
            <a:avLst/>
          </a:prstGeom>
          <a:noFill/>
        </p:spPr>
        <p:txBody>
          <a:bodyPr wrap="square" rtlCol="0">
            <a:spAutoFit/>
          </a:bodyPr>
          <a:lstStyle/>
          <a:p>
            <a:r>
              <a:rPr lang="pt-BR" sz="1067">
                <a:solidFill>
                  <a:schemeClr val="bg1"/>
                </a:solidFill>
                <a:latin typeface="Trebuchet MS" panose="020B0603020202020204" pitchFamily="34" charset="0"/>
              </a:rPr>
              <a:t>Oleoduto de Petróleo</a:t>
            </a:r>
          </a:p>
        </p:txBody>
      </p:sp>
      <p:sp>
        <p:nvSpPr>
          <p:cNvPr id="5" name="CaixaDeTexto 4">
            <a:extLst>
              <a:ext uri="{FF2B5EF4-FFF2-40B4-BE49-F238E27FC236}">
                <a16:creationId xmlns:a16="http://schemas.microsoft.com/office/drawing/2014/main" id="{B5F6EFD5-9F4F-8B29-AFC3-E6D0B1564F59}"/>
              </a:ext>
            </a:extLst>
          </p:cNvPr>
          <p:cNvSpPr txBox="1"/>
          <p:nvPr userDrawn="1"/>
        </p:nvSpPr>
        <p:spPr>
          <a:xfrm>
            <a:off x="666831" y="3962683"/>
            <a:ext cx="1524861" cy="256545"/>
          </a:xfrm>
          <a:prstGeom prst="rect">
            <a:avLst/>
          </a:prstGeom>
          <a:noFill/>
        </p:spPr>
        <p:txBody>
          <a:bodyPr wrap="square" rtlCol="0">
            <a:spAutoFit/>
          </a:bodyPr>
          <a:lstStyle/>
          <a:p>
            <a:r>
              <a:rPr lang="pt-BR" sz="1067">
                <a:solidFill>
                  <a:schemeClr val="bg1"/>
                </a:solidFill>
                <a:latin typeface="Trebuchet MS" panose="020B0603020202020204" pitchFamily="34" charset="0"/>
              </a:rPr>
              <a:t>Oleoduto de Nafta</a:t>
            </a:r>
          </a:p>
        </p:txBody>
      </p:sp>
      <p:sp>
        <p:nvSpPr>
          <p:cNvPr id="7" name="CaixaDeTexto 6">
            <a:extLst>
              <a:ext uri="{FF2B5EF4-FFF2-40B4-BE49-F238E27FC236}">
                <a16:creationId xmlns:a16="http://schemas.microsoft.com/office/drawing/2014/main" id="{ED51476B-77B0-2DF9-FAA3-FAD93CFF538F}"/>
              </a:ext>
            </a:extLst>
          </p:cNvPr>
          <p:cNvSpPr txBox="1"/>
          <p:nvPr userDrawn="1"/>
        </p:nvSpPr>
        <p:spPr>
          <a:xfrm>
            <a:off x="676126" y="4300513"/>
            <a:ext cx="1515567" cy="420756"/>
          </a:xfrm>
          <a:prstGeom prst="rect">
            <a:avLst/>
          </a:prstGeom>
          <a:noFill/>
        </p:spPr>
        <p:txBody>
          <a:bodyPr wrap="square" rtlCol="0">
            <a:spAutoFit/>
          </a:bodyPr>
          <a:lstStyle/>
          <a:p>
            <a:r>
              <a:rPr lang="pt-BR" sz="1067">
                <a:solidFill>
                  <a:schemeClr val="bg1"/>
                </a:solidFill>
                <a:latin typeface="Trebuchet MS" panose="020B0603020202020204" pitchFamily="34" charset="0"/>
              </a:rPr>
              <a:t>Oleoduto de Derivados</a:t>
            </a:r>
          </a:p>
        </p:txBody>
      </p:sp>
      <p:pic>
        <p:nvPicPr>
          <p:cNvPr id="9" name="Imagem 8">
            <a:extLst>
              <a:ext uri="{FF2B5EF4-FFF2-40B4-BE49-F238E27FC236}">
                <a16:creationId xmlns:a16="http://schemas.microsoft.com/office/drawing/2014/main" id="{E1D12211-5418-3E12-5C0F-4B130ACEE607}"/>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85627" y="3601732"/>
            <a:ext cx="469895" cy="289827"/>
          </a:xfrm>
          <a:prstGeom prst="rect">
            <a:avLst/>
          </a:prstGeom>
        </p:spPr>
      </p:pic>
      <p:pic>
        <p:nvPicPr>
          <p:cNvPr id="12" name="Imagem 11">
            <a:extLst>
              <a:ext uri="{FF2B5EF4-FFF2-40B4-BE49-F238E27FC236}">
                <a16:creationId xmlns:a16="http://schemas.microsoft.com/office/drawing/2014/main" id="{A9E5BBD8-DA32-4575-F2CA-FDBC376B160D}"/>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96071" y="4274567"/>
            <a:ext cx="480055" cy="281863"/>
          </a:xfrm>
          <a:prstGeom prst="rect">
            <a:avLst/>
          </a:prstGeom>
        </p:spPr>
      </p:pic>
      <p:pic>
        <p:nvPicPr>
          <p:cNvPr id="14" name="Imagem 13">
            <a:extLst>
              <a:ext uri="{FF2B5EF4-FFF2-40B4-BE49-F238E27FC236}">
                <a16:creationId xmlns:a16="http://schemas.microsoft.com/office/drawing/2014/main" id="{DA2574C2-FDF0-9354-29B1-91ACC522352A}"/>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85625" y="3931331"/>
            <a:ext cx="481205" cy="271501"/>
          </a:xfrm>
          <a:prstGeom prst="rect">
            <a:avLst/>
          </a:prstGeom>
        </p:spPr>
      </p:pic>
      <p:sp>
        <p:nvSpPr>
          <p:cNvPr id="18" name="CaixaDeTexto 17">
            <a:extLst>
              <a:ext uri="{FF2B5EF4-FFF2-40B4-BE49-F238E27FC236}">
                <a16:creationId xmlns:a16="http://schemas.microsoft.com/office/drawing/2014/main" id="{59BFDB05-A965-2605-B334-C3C17283F990}"/>
              </a:ext>
            </a:extLst>
          </p:cNvPr>
          <p:cNvSpPr txBox="1"/>
          <p:nvPr userDrawn="1"/>
        </p:nvSpPr>
        <p:spPr>
          <a:xfrm>
            <a:off x="143340" y="2176610"/>
            <a:ext cx="2112235" cy="666977"/>
          </a:xfrm>
          <a:prstGeom prst="rect">
            <a:avLst/>
          </a:prstGeom>
          <a:noFill/>
        </p:spPr>
        <p:txBody>
          <a:bodyPr wrap="square" rtlCol="0">
            <a:spAutoFit/>
          </a:bodyPr>
          <a:lstStyle/>
          <a:p>
            <a:r>
              <a:rPr lang="pt-BR" sz="1867" i="1">
                <a:solidFill>
                  <a:schemeClr val="bg1"/>
                </a:solidFill>
                <a:latin typeface="Trebuchet MS" panose="020B0603020202020204" pitchFamily="34" charset="0"/>
              </a:rPr>
              <a:t>Malha </a:t>
            </a:r>
          </a:p>
          <a:p>
            <a:r>
              <a:rPr lang="pt-BR" sz="1867" i="1">
                <a:solidFill>
                  <a:schemeClr val="bg1"/>
                </a:solidFill>
                <a:latin typeface="Trebuchet MS" panose="020B0603020202020204" pitchFamily="34" charset="0"/>
              </a:rPr>
              <a:t>Logística</a:t>
            </a:r>
          </a:p>
        </p:txBody>
      </p:sp>
      <p:pic>
        <p:nvPicPr>
          <p:cNvPr id="20" name="Imagem 19">
            <a:extLst>
              <a:ext uri="{FF2B5EF4-FFF2-40B4-BE49-F238E27FC236}">
                <a16:creationId xmlns:a16="http://schemas.microsoft.com/office/drawing/2014/main" id="{843739A0-E056-54CC-683F-27D5E14D7403}"/>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16557" y="4582376"/>
            <a:ext cx="527307" cy="553267"/>
          </a:xfrm>
          <a:prstGeom prst="rect">
            <a:avLst/>
          </a:prstGeom>
        </p:spPr>
      </p:pic>
      <p:pic>
        <p:nvPicPr>
          <p:cNvPr id="21" name="Imagem 20">
            <a:extLst>
              <a:ext uri="{FF2B5EF4-FFF2-40B4-BE49-F238E27FC236}">
                <a16:creationId xmlns:a16="http://schemas.microsoft.com/office/drawing/2014/main" id="{1EE79CEB-492E-AE70-9AE5-16F084A84C16}"/>
              </a:ext>
            </a:extLst>
          </p:cNvPr>
          <p:cNvPicPr/>
          <p:nvPr userDrawn="1"/>
        </p:nvPicPr>
        <p:blipFill>
          <a:blip r:embed="rId10" cstate="print">
            <a:extLst>
              <a:ext uri="{28A0092B-C50C-407E-A947-70E740481C1C}">
                <a14:useLocalDpi xmlns:a14="http://schemas.microsoft.com/office/drawing/2010/main" val="0"/>
              </a:ext>
            </a:extLst>
          </a:blip>
          <a:stretch>
            <a:fillRect/>
          </a:stretch>
        </p:blipFill>
        <p:spPr>
          <a:xfrm>
            <a:off x="151601" y="5129489"/>
            <a:ext cx="475459" cy="500063"/>
          </a:xfrm>
          <a:prstGeom prst="ellipse">
            <a:avLst/>
          </a:prstGeom>
        </p:spPr>
      </p:pic>
      <p:pic>
        <p:nvPicPr>
          <p:cNvPr id="25" name="Imagem 24">
            <a:extLst>
              <a:ext uri="{FF2B5EF4-FFF2-40B4-BE49-F238E27FC236}">
                <a16:creationId xmlns:a16="http://schemas.microsoft.com/office/drawing/2014/main" id="{EB9CD0A2-19D0-E400-E964-768018FE4686}"/>
              </a:ext>
            </a:extLst>
          </p:cNvPr>
          <p:cNvPicPr/>
          <p:nvPr userDrawn="1"/>
        </p:nvPicPr>
        <p:blipFill rotWithShape="1">
          <a:blip r:embed="rId11" cstate="print">
            <a:extLst>
              <a:ext uri="{28A0092B-C50C-407E-A947-70E740481C1C}">
                <a14:useLocalDpi xmlns:a14="http://schemas.microsoft.com/office/drawing/2010/main" val="0"/>
              </a:ext>
            </a:extLst>
          </a:blip>
          <a:srcRect/>
          <a:stretch/>
        </p:blipFill>
        <p:spPr>
          <a:xfrm>
            <a:off x="122482" y="5663924"/>
            <a:ext cx="482916" cy="494744"/>
          </a:xfrm>
          <a:prstGeom prst="ellipse">
            <a:avLst/>
          </a:prstGeom>
        </p:spPr>
      </p:pic>
      <p:pic>
        <p:nvPicPr>
          <p:cNvPr id="48" name="Imagem 47">
            <a:extLst>
              <a:ext uri="{FF2B5EF4-FFF2-40B4-BE49-F238E27FC236}">
                <a16:creationId xmlns:a16="http://schemas.microsoft.com/office/drawing/2014/main" id="{0B36C198-19BE-1888-3169-5CE2C472B28D}"/>
              </a:ext>
            </a:extLst>
          </p:cNvPr>
          <p:cNvPicPr/>
          <p:nvPr userDrawn="1"/>
        </p:nvPicPr>
        <p:blipFill>
          <a:blip r:embed="rId12">
            <a:extLst>
              <a:ext uri="{28A0092B-C50C-407E-A947-70E740481C1C}">
                <a14:useLocalDpi xmlns:a14="http://schemas.microsoft.com/office/drawing/2010/main" val="0"/>
              </a:ext>
            </a:extLst>
          </a:blip>
          <a:stretch>
            <a:fillRect/>
          </a:stretch>
        </p:blipFill>
        <p:spPr>
          <a:xfrm>
            <a:off x="122482" y="6208763"/>
            <a:ext cx="521383" cy="514351"/>
          </a:xfrm>
          <a:prstGeom prst="ellipse">
            <a:avLst/>
          </a:prstGeom>
        </p:spPr>
      </p:pic>
      <p:sp>
        <p:nvSpPr>
          <p:cNvPr id="56" name="CaixaDeTexto 55">
            <a:extLst>
              <a:ext uri="{FF2B5EF4-FFF2-40B4-BE49-F238E27FC236}">
                <a16:creationId xmlns:a16="http://schemas.microsoft.com/office/drawing/2014/main" id="{66793586-832C-D169-19A8-203713446440}"/>
              </a:ext>
            </a:extLst>
          </p:cNvPr>
          <p:cNvSpPr txBox="1"/>
          <p:nvPr userDrawn="1"/>
        </p:nvSpPr>
        <p:spPr>
          <a:xfrm>
            <a:off x="643865" y="4719480"/>
            <a:ext cx="954785" cy="256545"/>
          </a:xfrm>
          <a:prstGeom prst="rect">
            <a:avLst/>
          </a:prstGeom>
          <a:noFill/>
        </p:spPr>
        <p:txBody>
          <a:bodyPr wrap="square" rtlCol="0">
            <a:spAutoFit/>
          </a:bodyPr>
          <a:lstStyle/>
          <a:p>
            <a:r>
              <a:rPr lang="pt-BR" sz="1067">
                <a:solidFill>
                  <a:schemeClr val="bg1"/>
                </a:solidFill>
                <a:latin typeface="Trebuchet MS" panose="020B0603020202020204" pitchFamily="34" charset="0"/>
              </a:rPr>
              <a:t>Terminais</a:t>
            </a:r>
          </a:p>
        </p:txBody>
      </p:sp>
      <p:sp>
        <p:nvSpPr>
          <p:cNvPr id="57" name="CaixaDeTexto 56">
            <a:extLst>
              <a:ext uri="{FF2B5EF4-FFF2-40B4-BE49-F238E27FC236}">
                <a16:creationId xmlns:a16="http://schemas.microsoft.com/office/drawing/2014/main" id="{2D11C246-20E7-BF7C-1E45-A847AA76015F}"/>
              </a:ext>
            </a:extLst>
          </p:cNvPr>
          <p:cNvSpPr txBox="1"/>
          <p:nvPr userDrawn="1"/>
        </p:nvSpPr>
        <p:spPr>
          <a:xfrm>
            <a:off x="666831" y="5265181"/>
            <a:ext cx="1143163" cy="256545"/>
          </a:xfrm>
          <a:prstGeom prst="rect">
            <a:avLst/>
          </a:prstGeom>
          <a:noFill/>
        </p:spPr>
        <p:txBody>
          <a:bodyPr wrap="square" rtlCol="0">
            <a:spAutoFit/>
          </a:bodyPr>
          <a:lstStyle/>
          <a:p>
            <a:r>
              <a:rPr lang="pt-BR" sz="1067">
                <a:solidFill>
                  <a:schemeClr val="bg1"/>
                </a:solidFill>
                <a:latin typeface="Trebuchet MS" panose="020B0603020202020204" pitchFamily="34" charset="0"/>
              </a:rPr>
              <a:t>Refinarias</a:t>
            </a:r>
          </a:p>
        </p:txBody>
      </p:sp>
      <p:sp>
        <p:nvSpPr>
          <p:cNvPr id="58" name="CaixaDeTexto 57">
            <a:extLst>
              <a:ext uri="{FF2B5EF4-FFF2-40B4-BE49-F238E27FC236}">
                <a16:creationId xmlns:a16="http://schemas.microsoft.com/office/drawing/2014/main" id="{53EDC40A-FA76-FFAE-1FAB-B77F26CE1186}"/>
              </a:ext>
            </a:extLst>
          </p:cNvPr>
          <p:cNvSpPr txBox="1"/>
          <p:nvPr userDrawn="1"/>
        </p:nvSpPr>
        <p:spPr>
          <a:xfrm>
            <a:off x="676525" y="5806155"/>
            <a:ext cx="1123775" cy="256545"/>
          </a:xfrm>
          <a:prstGeom prst="rect">
            <a:avLst/>
          </a:prstGeom>
          <a:noFill/>
        </p:spPr>
        <p:txBody>
          <a:bodyPr wrap="square" rtlCol="0">
            <a:spAutoFit/>
          </a:bodyPr>
          <a:lstStyle/>
          <a:p>
            <a:r>
              <a:rPr lang="pt-BR" sz="1067">
                <a:solidFill>
                  <a:schemeClr val="bg1"/>
                </a:solidFill>
                <a:latin typeface="Trebuchet MS" panose="020B0603020202020204" pitchFamily="34" charset="0"/>
              </a:rPr>
              <a:t>Distribuidoras</a:t>
            </a:r>
          </a:p>
        </p:txBody>
      </p:sp>
      <p:sp>
        <p:nvSpPr>
          <p:cNvPr id="59" name="CaixaDeTexto 58">
            <a:extLst>
              <a:ext uri="{FF2B5EF4-FFF2-40B4-BE49-F238E27FC236}">
                <a16:creationId xmlns:a16="http://schemas.microsoft.com/office/drawing/2014/main" id="{7AEBE3E4-3BB3-19A0-B97E-5BDCD09F1932}"/>
              </a:ext>
            </a:extLst>
          </p:cNvPr>
          <p:cNvSpPr txBox="1"/>
          <p:nvPr userDrawn="1"/>
        </p:nvSpPr>
        <p:spPr>
          <a:xfrm>
            <a:off x="676126" y="6343391"/>
            <a:ext cx="1025393" cy="256545"/>
          </a:xfrm>
          <a:prstGeom prst="rect">
            <a:avLst/>
          </a:prstGeom>
          <a:noFill/>
        </p:spPr>
        <p:txBody>
          <a:bodyPr wrap="square" rtlCol="0">
            <a:spAutoFit/>
          </a:bodyPr>
          <a:lstStyle/>
          <a:p>
            <a:r>
              <a:rPr lang="pt-BR" sz="1067">
                <a:solidFill>
                  <a:schemeClr val="bg1"/>
                </a:solidFill>
                <a:latin typeface="Trebuchet MS" panose="020B0603020202020204" pitchFamily="34" charset="0"/>
              </a:rPr>
              <a:t>Estações</a:t>
            </a:r>
          </a:p>
        </p:txBody>
      </p:sp>
      <p:sp>
        <p:nvSpPr>
          <p:cNvPr id="62" name="Retângulo 61">
            <a:extLst>
              <a:ext uri="{FF2B5EF4-FFF2-40B4-BE49-F238E27FC236}">
                <a16:creationId xmlns:a16="http://schemas.microsoft.com/office/drawing/2014/main" id="{96946B0E-77B9-307D-B677-381919BA23AC}"/>
              </a:ext>
            </a:extLst>
          </p:cNvPr>
          <p:cNvSpPr/>
          <p:nvPr userDrawn="1"/>
        </p:nvSpPr>
        <p:spPr>
          <a:xfrm>
            <a:off x="116558" y="216403"/>
            <a:ext cx="457319" cy="457200"/>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900"/>
          </a:p>
        </p:txBody>
      </p:sp>
      <p:sp>
        <p:nvSpPr>
          <p:cNvPr id="61" name="CaixaDeTexto 60">
            <a:extLst>
              <a:ext uri="{FF2B5EF4-FFF2-40B4-BE49-F238E27FC236}">
                <a16:creationId xmlns:a16="http://schemas.microsoft.com/office/drawing/2014/main" id="{15A3765F-DD9B-E572-4645-84AA0A16680B}"/>
              </a:ext>
            </a:extLst>
          </p:cNvPr>
          <p:cNvSpPr txBox="1"/>
          <p:nvPr userDrawn="1"/>
        </p:nvSpPr>
        <p:spPr>
          <a:xfrm>
            <a:off x="325853" y="259589"/>
            <a:ext cx="2246428" cy="1200329"/>
          </a:xfrm>
          <a:prstGeom prst="rect">
            <a:avLst/>
          </a:prstGeom>
          <a:solidFill>
            <a:srgbClr val="DDDDDD"/>
          </a:solidFill>
        </p:spPr>
        <p:txBody>
          <a:bodyPr wrap="square" rtlCol="0">
            <a:spAutoFit/>
          </a:bodyPr>
          <a:lstStyle/>
          <a:p>
            <a:r>
              <a:rPr lang="pt-BR" sz="2400" b="1">
                <a:solidFill>
                  <a:schemeClr val="bg1"/>
                </a:solidFill>
              </a:rPr>
              <a:t>Paraná e </a:t>
            </a:r>
          </a:p>
          <a:p>
            <a:r>
              <a:rPr lang="pt-BR" sz="2400" b="1">
                <a:solidFill>
                  <a:schemeClr val="bg1"/>
                </a:solidFill>
              </a:rPr>
              <a:t>Santa Catarina</a:t>
            </a:r>
          </a:p>
        </p:txBody>
      </p:sp>
    </p:spTree>
    <p:extLst>
      <p:ext uri="{BB962C8B-B14F-4D97-AF65-F5344CB8AC3E}">
        <p14:creationId xmlns:p14="http://schemas.microsoft.com/office/powerpoint/2010/main" val="2919809084"/>
      </p:ext>
    </p:extLst>
  </p:cSld>
  <p:clrMapOvr>
    <a:masterClrMapping/>
  </p:clrMapOvr>
  <p:transition spd="med">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_Layout Personalizado">
    <p:spTree>
      <p:nvGrpSpPr>
        <p:cNvPr id="1" name=""/>
        <p:cNvGrpSpPr/>
        <p:nvPr/>
      </p:nvGrpSpPr>
      <p:grpSpPr>
        <a:xfrm>
          <a:off x="0" y="0"/>
          <a:ext cx="0" cy="0"/>
          <a:chOff x="0" y="0"/>
          <a:chExt cx="0" cy="0"/>
        </a:xfrm>
      </p:grpSpPr>
      <p:sp>
        <p:nvSpPr>
          <p:cNvPr id="11" name="Retângulo 10">
            <a:extLst>
              <a:ext uri="{FF2B5EF4-FFF2-40B4-BE49-F238E27FC236}">
                <a16:creationId xmlns:a16="http://schemas.microsoft.com/office/drawing/2014/main" id="{BA772247-88DB-A895-AB18-17D8D9B27FB1}"/>
              </a:ext>
            </a:extLst>
          </p:cNvPr>
          <p:cNvSpPr/>
          <p:nvPr userDrawn="1"/>
        </p:nvSpPr>
        <p:spPr>
          <a:xfrm>
            <a:off x="11349828" y="6015220"/>
            <a:ext cx="843000" cy="8427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900"/>
          </a:p>
        </p:txBody>
      </p:sp>
      <p:pic>
        <p:nvPicPr>
          <p:cNvPr id="3" name="Imagem 2"/>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807" y="1"/>
            <a:ext cx="12188388" cy="3805084"/>
          </a:xfrm>
          <a:prstGeom prst="rect">
            <a:avLst/>
          </a:prstGeom>
        </p:spPr>
      </p:pic>
      <p:sp>
        <p:nvSpPr>
          <p:cNvPr id="8" name="Elipse 7">
            <a:extLst>
              <a:ext uri="{FF2B5EF4-FFF2-40B4-BE49-F238E27FC236}">
                <a16:creationId xmlns:a16="http://schemas.microsoft.com/office/drawing/2014/main" id="{0B8F7E35-3356-A1C8-3249-5CF336C2240C}"/>
              </a:ext>
            </a:extLst>
          </p:cNvPr>
          <p:cNvSpPr/>
          <p:nvPr userDrawn="1"/>
        </p:nvSpPr>
        <p:spPr>
          <a:xfrm>
            <a:off x="11685201" y="6374991"/>
            <a:ext cx="398311" cy="398207"/>
          </a:xfrm>
          <a:prstGeom prst="ellipse">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800" b="1">
                <a:solidFill>
                  <a:srgbClr val="006199"/>
                </a:solidFill>
              </a:rPr>
              <a:t>P</a:t>
            </a:r>
          </a:p>
        </p:txBody>
      </p:sp>
      <p:sp>
        <p:nvSpPr>
          <p:cNvPr id="9" name="Elipse 8">
            <a:extLst>
              <a:ext uri="{FF2B5EF4-FFF2-40B4-BE49-F238E27FC236}">
                <a16:creationId xmlns:a16="http://schemas.microsoft.com/office/drawing/2014/main" id="{7062DBA6-625F-8FDA-DD2C-D2A6A077540B}"/>
              </a:ext>
            </a:extLst>
          </p:cNvPr>
          <p:cNvSpPr/>
          <p:nvPr userDrawn="1"/>
        </p:nvSpPr>
        <p:spPr>
          <a:xfrm>
            <a:off x="11685201" y="6374991"/>
            <a:ext cx="398311" cy="39820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800" b="1"/>
              <a:t>I</a:t>
            </a:r>
          </a:p>
        </p:txBody>
      </p:sp>
      <p:sp>
        <p:nvSpPr>
          <p:cNvPr id="12" name="Elipse 11">
            <a:extLst>
              <a:ext uri="{FF2B5EF4-FFF2-40B4-BE49-F238E27FC236}">
                <a16:creationId xmlns:a16="http://schemas.microsoft.com/office/drawing/2014/main" id="{6E4AECD8-0EB6-D2AF-ED57-3541850CBA03}"/>
              </a:ext>
            </a:extLst>
          </p:cNvPr>
          <p:cNvSpPr/>
          <p:nvPr userDrawn="1"/>
        </p:nvSpPr>
        <p:spPr>
          <a:xfrm>
            <a:off x="11685201" y="6374991"/>
            <a:ext cx="398311" cy="398207"/>
          </a:xfrm>
          <a:prstGeom prst="ellipse">
            <a:avLst/>
          </a:prstGeom>
          <a:solidFill>
            <a:srgbClr val="C400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800" b="1"/>
              <a:t>S</a:t>
            </a:r>
          </a:p>
        </p:txBody>
      </p:sp>
      <p:sp>
        <p:nvSpPr>
          <p:cNvPr id="10" name="Elipse 9">
            <a:extLst>
              <a:ext uri="{FF2B5EF4-FFF2-40B4-BE49-F238E27FC236}">
                <a16:creationId xmlns:a16="http://schemas.microsoft.com/office/drawing/2014/main" id="{9550DBBB-5836-809E-4571-D88E7FED59C2}"/>
              </a:ext>
            </a:extLst>
          </p:cNvPr>
          <p:cNvSpPr/>
          <p:nvPr userDrawn="1"/>
        </p:nvSpPr>
        <p:spPr>
          <a:xfrm>
            <a:off x="11685201" y="6374991"/>
            <a:ext cx="398311" cy="398207"/>
          </a:xfrm>
          <a:prstGeom prst="ellipse">
            <a:avLst/>
          </a:prstGeom>
          <a:solidFill>
            <a:srgbClr val="FDC8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800" b="1">
                <a:solidFill>
                  <a:srgbClr val="00619D"/>
                </a:solidFill>
              </a:rPr>
              <a:t>C</a:t>
            </a:r>
          </a:p>
        </p:txBody>
      </p:sp>
      <p:pic>
        <p:nvPicPr>
          <p:cNvPr id="2" name="Imagem 1">
            <a:extLst>
              <a:ext uri="{FF2B5EF4-FFF2-40B4-BE49-F238E27FC236}">
                <a16:creationId xmlns:a16="http://schemas.microsoft.com/office/drawing/2014/main" id="{5DFB8406-B2E0-F4EB-58CC-FBE0A208FC2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07" y="0"/>
            <a:ext cx="12188388" cy="6858000"/>
          </a:xfrm>
          <a:prstGeom prst="rect">
            <a:avLst/>
          </a:prstGeom>
        </p:spPr>
      </p:pic>
      <p:sp>
        <p:nvSpPr>
          <p:cNvPr id="6" name="Retângulo 4">
            <a:extLst>
              <a:ext uri="{FF2B5EF4-FFF2-40B4-BE49-F238E27FC236}">
                <a16:creationId xmlns:a16="http://schemas.microsoft.com/office/drawing/2014/main" id="{7BF500D3-FA63-CF54-FE7F-797B616DCEBB}"/>
              </a:ext>
            </a:extLst>
          </p:cNvPr>
          <p:cNvSpPr/>
          <p:nvPr userDrawn="1"/>
        </p:nvSpPr>
        <p:spPr>
          <a:xfrm>
            <a:off x="1807" y="1438276"/>
            <a:ext cx="2355923" cy="5419725"/>
          </a:xfrm>
          <a:custGeom>
            <a:avLst/>
            <a:gdLst>
              <a:gd name="connsiteX0" fmla="*/ 0 w 4710618"/>
              <a:gd name="connsiteY0" fmla="*/ 0 h 10839450"/>
              <a:gd name="connsiteX1" fmla="*/ 4710618 w 4710618"/>
              <a:gd name="connsiteY1" fmla="*/ 0 h 10839450"/>
              <a:gd name="connsiteX2" fmla="*/ 4710618 w 4710618"/>
              <a:gd name="connsiteY2" fmla="*/ 10839450 h 10839450"/>
              <a:gd name="connsiteX3" fmla="*/ 0 w 4710618"/>
              <a:gd name="connsiteY3" fmla="*/ 10839450 h 10839450"/>
              <a:gd name="connsiteX4" fmla="*/ 0 w 4710618"/>
              <a:gd name="connsiteY4" fmla="*/ 0 h 10839450"/>
              <a:gd name="connsiteX0" fmla="*/ 0 w 4710618"/>
              <a:gd name="connsiteY0" fmla="*/ 0 h 10839450"/>
              <a:gd name="connsiteX1" fmla="*/ 3224718 w 4710618"/>
              <a:gd name="connsiteY1" fmla="*/ 1581150 h 10839450"/>
              <a:gd name="connsiteX2" fmla="*/ 4710618 w 4710618"/>
              <a:gd name="connsiteY2" fmla="*/ 10839450 h 10839450"/>
              <a:gd name="connsiteX3" fmla="*/ 0 w 4710618"/>
              <a:gd name="connsiteY3" fmla="*/ 10839450 h 10839450"/>
              <a:gd name="connsiteX4" fmla="*/ 0 w 4710618"/>
              <a:gd name="connsiteY4" fmla="*/ 0 h 10839450"/>
              <a:gd name="connsiteX0" fmla="*/ 0 w 4710618"/>
              <a:gd name="connsiteY0" fmla="*/ 0 h 10839450"/>
              <a:gd name="connsiteX1" fmla="*/ 3872418 w 4710618"/>
              <a:gd name="connsiteY1" fmla="*/ 1447800 h 10839450"/>
              <a:gd name="connsiteX2" fmla="*/ 4710618 w 4710618"/>
              <a:gd name="connsiteY2" fmla="*/ 10839450 h 10839450"/>
              <a:gd name="connsiteX3" fmla="*/ 0 w 4710618"/>
              <a:gd name="connsiteY3" fmla="*/ 10839450 h 10839450"/>
              <a:gd name="connsiteX4" fmla="*/ 0 w 4710618"/>
              <a:gd name="connsiteY4" fmla="*/ 0 h 10839450"/>
              <a:gd name="connsiteX0" fmla="*/ 0 w 4710618"/>
              <a:gd name="connsiteY0" fmla="*/ 0 h 10839450"/>
              <a:gd name="connsiteX1" fmla="*/ 3319968 w 4710618"/>
              <a:gd name="connsiteY1" fmla="*/ 1257300 h 10839450"/>
              <a:gd name="connsiteX2" fmla="*/ 3872418 w 4710618"/>
              <a:gd name="connsiteY2" fmla="*/ 1447800 h 10839450"/>
              <a:gd name="connsiteX3" fmla="*/ 4710618 w 4710618"/>
              <a:gd name="connsiteY3" fmla="*/ 10839450 h 10839450"/>
              <a:gd name="connsiteX4" fmla="*/ 0 w 4710618"/>
              <a:gd name="connsiteY4" fmla="*/ 10839450 h 10839450"/>
              <a:gd name="connsiteX5" fmla="*/ 0 w 4710618"/>
              <a:gd name="connsiteY5" fmla="*/ 0 h 10839450"/>
              <a:gd name="connsiteX0" fmla="*/ 0 w 4710618"/>
              <a:gd name="connsiteY0" fmla="*/ 0 h 10839450"/>
              <a:gd name="connsiteX1" fmla="*/ 3434268 w 4710618"/>
              <a:gd name="connsiteY1" fmla="*/ 1047750 h 10839450"/>
              <a:gd name="connsiteX2" fmla="*/ 3872418 w 4710618"/>
              <a:gd name="connsiteY2" fmla="*/ 1447800 h 10839450"/>
              <a:gd name="connsiteX3" fmla="*/ 4710618 w 4710618"/>
              <a:gd name="connsiteY3" fmla="*/ 10839450 h 10839450"/>
              <a:gd name="connsiteX4" fmla="*/ 0 w 4710618"/>
              <a:gd name="connsiteY4" fmla="*/ 10839450 h 10839450"/>
              <a:gd name="connsiteX5" fmla="*/ 0 w 4710618"/>
              <a:gd name="connsiteY5" fmla="*/ 0 h 10839450"/>
              <a:gd name="connsiteX0" fmla="*/ 0 w 4710618"/>
              <a:gd name="connsiteY0" fmla="*/ 0 h 10839450"/>
              <a:gd name="connsiteX1" fmla="*/ 3434268 w 4710618"/>
              <a:gd name="connsiteY1" fmla="*/ 1047750 h 10839450"/>
              <a:gd name="connsiteX2" fmla="*/ 3872418 w 4710618"/>
              <a:gd name="connsiteY2" fmla="*/ 1447800 h 10839450"/>
              <a:gd name="connsiteX3" fmla="*/ 4710618 w 4710618"/>
              <a:gd name="connsiteY3" fmla="*/ 10839450 h 10839450"/>
              <a:gd name="connsiteX4" fmla="*/ 0 w 4710618"/>
              <a:gd name="connsiteY4" fmla="*/ 10839450 h 10839450"/>
              <a:gd name="connsiteX5" fmla="*/ 0 w 4710618"/>
              <a:gd name="connsiteY5" fmla="*/ 0 h 10839450"/>
              <a:gd name="connsiteX0" fmla="*/ 0 w 4710618"/>
              <a:gd name="connsiteY0" fmla="*/ 0 h 10839450"/>
              <a:gd name="connsiteX1" fmla="*/ 3434268 w 4710618"/>
              <a:gd name="connsiteY1" fmla="*/ 1047750 h 10839450"/>
              <a:gd name="connsiteX2" fmla="*/ 3872418 w 4710618"/>
              <a:gd name="connsiteY2" fmla="*/ 1447800 h 10839450"/>
              <a:gd name="connsiteX3" fmla="*/ 4710618 w 4710618"/>
              <a:gd name="connsiteY3" fmla="*/ 10839450 h 10839450"/>
              <a:gd name="connsiteX4" fmla="*/ 0 w 4710618"/>
              <a:gd name="connsiteY4" fmla="*/ 10839450 h 10839450"/>
              <a:gd name="connsiteX5" fmla="*/ 0 w 4710618"/>
              <a:gd name="connsiteY5" fmla="*/ 0 h 10839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10618" h="10839450">
                <a:moveTo>
                  <a:pt x="0" y="0"/>
                </a:moveTo>
                <a:lnTo>
                  <a:pt x="3434268" y="1047750"/>
                </a:lnTo>
                <a:cubicBezTo>
                  <a:pt x="3679378" y="1158240"/>
                  <a:pt x="3833048" y="1268730"/>
                  <a:pt x="3872418" y="1447800"/>
                </a:cubicBezTo>
                <a:lnTo>
                  <a:pt x="4710618" y="10839450"/>
                </a:lnTo>
                <a:lnTo>
                  <a:pt x="0" y="10839450"/>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900"/>
          </a:p>
        </p:txBody>
      </p:sp>
      <p:sp>
        <p:nvSpPr>
          <p:cNvPr id="7" name="Retângulo 3">
            <a:extLst>
              <a:ext uri="{FF2B5EF4-FFF2-40B4-BE49-F238E27FC236}">
                <a16:creationId xmlns:a16="http://schemas.microsoft.com/office/drawing/2014/main" id="{85CFD046-721C-98D5-354B-05F1F57BEECD}"/>
              </a:ext>
            </a:extLst>
          </p:cNvPr>
          <p:cNvSpPr/>
          <p:nvPr userDrawn="1"/>
        </p:nvSpPr>
        <p:spPr>
          <a:xfrm>
            <a:off x="0" y="1253067"/>
            <a:ext cx="2424360" cy="5604935"/>
          </a:xfrm>
          <a:custGeom>
            <a:avLst/>
            <a:gdLst>
              <a:gd name="connsiteX0" fmla="*/ 0 w 3572933"/>
              <a:gd name="connsiteY0" fmla="*/ 0 h 11209867"/>
              <a:gd name="connsiteX1" fmla="*/ 3572933 w 3572933"/>
              <a:gd name="connsiteY1" fmla="*/ 0 h 11209867"/>
              <a:gd name="connsiteX2" fmla="*/ 3572933 w 3572933"/>
              <a:gd name="connsiteY2" fmla="*/ 11209867 h 11209867"/>
              <a:gd name="connsiteX3" fmla="*/ 0 w 3572933"/>
              <a:gd name="connsiteY3" fmla="*/ 11209867 h 11209867"/>
              <a:gd name="connsiteX4" fmla="*/ 0 w 3572933"/>
              <a:gd name="connsiteY4" fmla="*/ 0 h 11209867"/>
              <a:gd name="connsiteX0" fmla="*/ 0 w 4842933"/>
              <a:gd name="connsiteY0" fmla="*/ 0 h 11209867"/>
              <a:gd name="connsiteX1" fmla="*/ 4842933 w 4842933"/>
              <a:gd name="connsiteY1" fmla="*/ 3708400 h 11209867"/>
              <a:gd name="connsiteX2" fmla="*/ 3572933 w 4842933"/>
              <a:gd name="connsiteY2" fmla="*/ 11209867 h 11209867"/>
              <a:gd name="connsiteX3" fmla="*/ 0 w 4842933"/>
              <a:gd name="connsiteY3" fmla="*/ 11209867 h 11209867"/>
              <a:gd name="connsiteX4" fmla="*/ 0 w 4842933"/>
              <a:gd name="connsiteY4" fmla="*/ 0 h 11209867"/>
              <a:gd name="connsiteX0" fmla="*/ 0 w 4842933"/>
              <a:gd name="connsiteY0" fmla="*/ 0 h 11209867"/>
              <a:gd name="connsiteX1" fmla="*/ 4572001 w 4842933"/>
              <a:gd name="connsiteY1" fmla="*/ 3471334 h 11209867"/>
              <a:gd name="connsiteX2" fmla="*/ 4842933 w 4842933"/>
              <a:gd name="connsiteY2" fmla="*/ 3708400 h 11209867"/>
              <a:gd name="connsiteX3" fmla="*/ 3572933 w 4842933"/>
              <a:gd name="connsiteY3" fmla="*/ 11209867 h 11209867"/>
              <a:gd name="connsiteX4" fmla="*/ 0 w 4842933"/>
              <a:gd name="connsiteY4" fmla="*/ 11209867 h 11209867"/>
              <a:gd name="connsiteX5" fmla="*/ 0 w 4842933"/>
              <a:gd name="connsiteY5" fmla="*/ 0 h 11209867"/>
              <a:gd name="connsiteX0" fmla="*/ 0 w 4842933"/>
              <a:gd name="connsiteY0" fmla="*/ 0 h 11209867"/>
              <a:gd name="connsiteX1" fmla="*/ 4588935 w 4842933"/>
              <a:gd name="connsiteY1" fmla="*/ 3183467 h 11209867"/>
              <a:gd name="connsiteX2" fmla="*/ 4842933 w 4842933"/>
              <a:gd name="connsiteY2" fmla="*/ 3708400 h 11209867"/>
              <a:gd name="connsiteX3" fmla="*/ 3572933 w 4842933"/>
              <a:gd name="connsiteY3" fmla="*/ 11209867 h 11209867"/>
              <a:gd name="connsiteX4" fmla="*/ 0 w 4842933"/>
              <a:gd name="connsiteY4" fmla="*/ 11209867 h 11209867"/>
              <a:gd name="connsiteX5" fmla="*/ 0 w 4842933"/>
              <a:gd name="connsiteY5" fmla="*/ 0 h 11209867"/>
              <a:gd name="connsiteX0" fmla="*/ 0 w 4844683"/>
              <a:gd name="connsiteY0" fmla="*/ 0 h 11209867"/>
              <a:gd name="connsiteX1" fmla="*/ 4588935 w 4844683"/>
              <a:gd name="connsiteY1" fmla="*/ 3183467 h 11209867"/>
              <a:gd name="connsiteX2" fmla="*/ 4842933 w 4844683"/>
              <a:gd name="connsiteY2" fmla="*/ 3708400 h 11209867"/>
              <a:gd name="connsiteX3" fmla="*/ 3572933 w 4844683"/>
              <a:gd name="connsiteY3" fmla="*/ 11209867 h 11209867"/>
              <a:gd name="connsiteX4" fmla="*/ 0 w 4844683"/>
              <a:gd name="connsiteY4" fmla="*/ 11209867 h 11209867"/>
              <a:gd name="connsiteX5" fmla="*/ 0 w 4844683"/>
              <a:gd name="connsiteY5" fmla="*/ 0 h 11209867"/>
              <a:gd name="connsiteX0" fmla="*/ 0 w 4846133"/>
              <a:gd name="connsiteY0" fmla="*/ 0 h 11209867"/>
              <a:gd name="connsiteX1" fmla="*/ 4588935 w 4846133"/>
              <a:gd name="connsiteY1" fmla="*/ 3183467 h 11209867"/>
              <a:gd name="connsiteX2" fmla="*/ 4842933 w 4846133"/>
              <a:gd name="connsiteY2" fmla="*/ 3708400 h 11209867"/>
              <a:gd name="connsiteX3" fmla="*/ 3572933 w 4846133"/>
              <a:gd name="connsiteY3" fmla="*/ 11209867 h 11209867"/>
              <a:gd name="connsiteX4" fmla="*/ 0 w 4846133"/>
              <a:gd name="connsiteY4" fmla="*/ 11209867 h 11209867"/>
              <a:gd name="connsiteX5" fmla="*/ 0 w 4846133"/>
              <a:gd name="connsiteY5" fmla="*/ 0 h 11209867"/>
              <a:gd name="connsiteX0" fmla="*/ 0 w 4847457"/>
              <a:gd name="connsiteY0" fmla="*/ 0 h 11209867"/>
              <a:gd name="connsiteX1" fmla="*/ 4588935 w 4847457"/>
              <a:gd name="connsiteY1" fmla="*/ 3183467 h 11209867"/>
              <a:gd name="connsiteX2" fmla="*/ 4842933 w 4847457"/>
              <a:gd name="connsiteY2" fmla="*/ 3708400 h 11209867"/>
              <a:gd name="connsiteX3" fmla="*/ 3572933 w 4847457"/>
              <a:gd name="connsiteY3" fmla="*/ 11209867 h 11209867"/>
              <a:gd name="connsiteX4" fmla="*/ 0 w 4847457"/>
              <a:gd name="connsiteY4" fmla="*/ 11209867 h 11209867"/>
              <a:gd name="connsiteX5" fmla="*/ 0 w 4847457"/>
              <a:gd name="connsiteY5" fmla="*/ 0 h 11209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47457" h="11209867">
                <a:moveTo>
                  <a:pt x="0" y="0"/>
                </a:moveTo>
                <a:lnTo>
                  <a:pt x="4588935" y="3183467"/>
                </a:lnTo>
                <a:cubicBezTo>
                  <a:pt x="4810761" y="3350825"/>
                  <a:pt x="4864947" y="3472462"/>
                  <a:pt x="4842933" y="3708400"/>
                </a:cubicBezTo>
                <a:lnTo>
                  <a:pt x="3572933" y="11209867"/>
                </a:lnTo>
                <a:lnTo>
                  <a:pt x="0" y="11209867"/>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900"/>
          </a:p>
        </p:txBody>
      </p:sp>
      <p:sp>
        <p:nvSpPr>
          <p:cNvPr id="13" name="Retângulo 4">
            <a:extLst>
              <a:ext uri="{FF2B5EF4-FFF2-40B4-BE49-F238E27FC236}">
                <a16:creationId xmlns:a16="http://schemas.microsoft.com/office/drawing/2014/main" id="{82DBDDF1-7A45-76B3-F32C-2021D8880FE0}"/>
              </a:ext>
            </a:extLst>
          </p:cNvPr>
          <p:cNvSpPr/>
          <p:nvPr userDrawn="1"/>
        </p:nvSpPr>
        <p:spPr>
          <a:xfrm>
            <a:off x="1807" y="1438276"/>
            <a:ext cx="2355923" cy="5419725"/>
          </a:xfrm>
          <a:custGeom>
            <a:avLst/>
            <a:gdLst>
              <a:gd name="connsiteX0" fmla="*/ 0 w 4710618"/>
              <a:gd name="connsiteY0" fmla="*/ 0 h 10839450"/>
              <a:gd name="connsiteX1" fmla="*/ 4710618 w 4710618"/>
              <a:gd name="connsiteY1" fmla="*/ 0 h 10839450"/>
              <a:gd name="connsiteX2" fmla="*/ 4710618 w 4710618"/>
              <a:gd name="connsiteY2" fmla="*/ 10839450 h 10839450"/>
              <a:gd name="connsiteX3" fmla="*/ 0 w 4710618"/>
              <a:gd name="connsiteY3" fmla="*/ 10839450 h 10839450"/>
              <a:gd name="connsiteX4" fmla="*/ 0 w 4710618"/>
              <a:gd name="connsiteY4" fmla="*/ 0 h 10839450"/>
              <a:gd name="connsiteX0" fmla="*/ 0 w 4710618"/>
              <a:gd name="connsiteY0" fmla="*/ 0 h 10839450"/>
              <a:gd name="connsiteX1" fmla="*/ 3224718 w 4710618"/>
              <a:gd name="connsiteY1" fmla="*/ 1581150 h 10839450"/>
              <a:gd name="connsiteX2" fmla="*/ 4710618 w 4710618"/>
              <a:gd name="connsiteY2" fmla="*/ 10839450 h 10839450"/>
              <a:gd name="connsiteX3" fmla="*/ 0 w 4710618"/>
              <a:gd name="connsiteY3" fmla="*/ 10839450 h 10839450"/>
              <a:gd name="connsiteX4" fmla="*/ 0 w 4710618"/>
              <a:gd name="connsiteY4" fmla="*/ 0 h 10839450"/>
              <a:gd name="connsiteX0" fmla="*/ 0 w 4710618"/>
              <a:gd name="connsiteY0" fmla="*/ 0 h 10839450"/>
              <a:gd name="connsiteX1" fmla="*/ 3872418 w 4710618"/>
              <a:gd name="connsiteY1" fmla="*/ 1447800 h 10839450"/>
              <a:gd name="connsiteX2" fmla="*/ 4710618 w 4710618"/>
              <a:gd name="connsiteY2" fmla="*/ 10839450 h 10839450"/>
              <a:gd name="connsiteX3" fmla="*/ 0 w 4710618"/>
              <a:gd name="connsiteY3" fmla="*/ 10839450 h 10839450"/>
              <a:gd name="connsiteX4" fmla="*/ 0 w 4710618"/>
              <a:gd name="connsiteY4" fmla="*/ 0 h 10839450"/>
              <a:gd name="connsiteX0" fmla="*/ 0 w 4710618"/>
              <a:gd name="connsiteY0" fmla="*/ 0 h 10839450"/>
              <a:gd name="connsiteX1" fmla="*/ 3319968 w 4710618"/>
              <a:gd name="connsiteY1" fmla="*/ 1257300 h 10839450"/>
              <a:gd name="connsiteX2" fmla="*/ 3872418 w 4710618"/>
              <a:gd name="connsiteY2" fmla="*/ 1447800 h 10839450"/>
              <a:gd name="connsiteX3" fmla="*/ 4710618 w 4710618"/>
              <a:gd name="connsiteY3" fmla="*/ 10839450 h 10839450"/>
              <a:gd name="connsiteX4" fmla="*/ 0 w 4710618"/>
              <a:gd name="connsiteY4" fmla="*/ 10839450 h 10839450"/>
              <a:gd name="connsiteX5" fmla="*/ 0 w 4710618"/>
              <a:gd name="connsiteY5" fmla="*/ 0 h 10839450"/>
              <a:gd name="connsiteX0" fmla="*/ 0 w 4710618"/>
              <a:gd name="connsiteY0" fmla="*/ 0 h 10839450"/>
              <a:gd name="connsiteX1" fmla="*/ 3434268 w 4710618"/>
              <a:gd name="connsiteY1" fmla="*/ 1047750 h 10839450"/>
              <a:gd name="connsiteX2" fmla="*/ 3872418 w 4710618"/>
              <a:gd name="connsiteY2" fmla="*/ 1447800 h 10839450"/>
              <a:gd name="connsiteX3" fmla="*/ 4710618 w 4710618"/>
              <a:gd name="connsiteY3" fmla="*/ 10839450 h 10839450"/>
              <a:gd name="connsiteX4" fmla="*/ 0 w 4710618"/>
              <a:gd name="connsiteY4" fmla="*/ 10839450 h 10839450"/>
              <a:gd name="connsiteX5" fmla="*/ 0 w 4710618"/>
              <a:gd name="connsiteY5" fmla="*/ 0 h 10839450"/>
              <a:gd name="connsiteX0" fmla="*/ 0 w 4710618"/>
              <a:gd name="connsiteY0" fmla="*/ 0 h 10839450"/>
              <a:gd name="connsiteX1" fmla="*/ 3434268 w 4710618"/>
              <a:gd name="connsiteY1" fmla="*/ 1047750 h 10839450"/>
              <a:gd name="connsiteX2" fmla="*/ 3872418 w 4710618"/>
              <a:gd name="connsiteY2" fmla="*/ 1447800 h 10839450"/>
              <a:gd name="connsiteX3" fmla="*/ 4710618 w 4710618"/>
              <a:gd name="connsiteY3" fmla="*/ 10839450 h 10839450"/>
              <a:gd name="connsiteX4" fmla="*/ 0 w 4710618"/>
              <a:gd name="connsiteY4" fmla="*/ 10839450 h 10839450"/>
              <a:gd name="connsiteX5" fmla="*/ 0 w 4710618"/>
              <a:gd name="connsiteY5" fmla="*/ 0 h 10839450"/>
              <a:gd name="connsiteX0" fmla="*/ 0 w 4710618"/>
              <a:gd name="connsiteY0" fmla="*/ 0 h 10839450"/>
              <a:gd name="connsiteX1" fmla="*/ 3434268 w 4710618"/>
              <a:gd name="connsiteY1" fmla="*/ 1047750 h 10839450"/>
              <a:gd name="connsiteX2" fmla="*/ 3872418 w 4710618"/>
              <a:gd name="connsiteY2" fmla="*/ 1447800 h 10839450"/>
              <a:gd name="connsiteX3" fmla="*/ 4710618 w 4710618"/>
              <a:gd name="connsiteY3" fmla="*/ 10839450 h 10839450"/>
              <a:gd name="connsiteX4" fmla="*/ 0 w 4710618"/>
              <a:gd name="connsiteY4" fmla="*/ 10839450 h 10839450"/>
              <a:gd name="connsiteX5" fmla="*/ 0 w 4710618"/>
              <a:gd name="connsiteY5" fmla="*/ 0 h 10839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10618" h="10839450">
                <a:moveTo>
                  <a:pt x="0" y="0"/>
                </a:moveTo>
                <a:lnTo>
                  <a:pt x="3434268" y="1047750"/>
                </a:lnTo>
                <a:cubicBezTo>
                  <a:pt x="3679378" y="1158240"/>
                  <a:pt x="3833048" y="1268730"/>
                  <a:pt x="3872418" y="1447800"/>
                </a:cubicBezTo>
                <a:lnTo>
                  <a:pt x="4710618" y="10839450"/>
                </a:lnTo>
                <a:lnTo>
                  <a:pt x="0" y="10839450"/>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900"/>
          </a:p>
        </p:txBody>
      </p:sp>
      <p:sp>
        <p:nvSpPr>
          <p:cNvPr id="14" name="Retângulo 3">
            <a:extLst>
              <a:ext uri="{FF2B5EF4-FFF2-40B4-BE49-F238E27FC236}">
                <a16:creationId xmlns:a16="http://schemas.microsoft.com/office/drawing/2014/main" id="{1D0FFD0C-A5F9-1A80-7204-F52FC7C62554}"/>
              </a:ext>
            </a:extLst>
          </p:cNvPr>
          <p:cNvSpPr/>
          <p:nvPr userDrawn="1"/>
        </p:nvSpPr>
        <p:spPr>
          <a:xfrm>
            <a:off x="0" y="1253067"/>
            <a:ext cx="2424360" cy="5604935"/>
          </a:xfrm>
          <a:custGeom>
            <a:avLst/>
            <a:gdLst>
              <a:gd name="connsiteX0" fmla="*/ 0 w 3572933"/>
              <a:gd name="connsiteY0" fmla="*/ 0 h 11209867"/>
              <a:gd name="connsiteX1" fmla="*/ 3572933 w 3572933"/>
              <a:gd name="connsiteY1" fmla="*/ 0 h 11209867"/>
              <a:gd name="connsiteX2" fmla="*/ 3572933 w 3572933"/>
              <a:gd name="connsiteY2" fmla="*/ 11209867 h 11209867"/>
              <a:gd name="connsiteX3" fmla="*/ 0 w 3572933"/>
              <a:gd name="connsiteY3" fmla="*/ 11209867 h 11209867"/>
              <a:gd name="connsiteX4" fmla="*/ 0 w 3572933"/>
              <a:gd name="connsiteY4" fmla="*/ 0 h 11209867"/>
              <a:gd name="connsiteX0" fmla="*/ 0 w 4842933"/>
              <a:gd name="connsiteY0" fmla="*/ 0 h 11209867"/>
              <a:gd name="connsiteX1" fmla="*/ 4842933 w 4842933"/>
              <a:gd name="connsiteY1" fmla="*/ 3708400 h 11209867"/>
              <a:gd name="connsiteX2" fmla="*/ 3572933 w 4842933"/>
              <a:gd name="connsiteY2" fmla="*/ 11209867 h 11209867"/>
              <a:gd name="connsiteX3" fmla="*/ 0 w 4842933"/>
              <a:gd name="connsiteY3" fmla="*/ 11209867 h 11209867"/>
              <a:gd name="connsiteX4" fmla="*/ 0 w 4842933"/>
              <a:gd name="connsiteY4" fmla="*/ 0 h 11209867"/>
              <a:gd name="connsiteX0" fmla="*/ 0 w 4842933"/>
              <a:gd name="connsiteY0" fmla="*/ 0 h 11209867"/>
              <a:gd name="connsiteX1" fmla="*/ 4572001 w 4842933"/>
              <a:gd name="connsiteY1" fmla="*/ 3471334 h 11209867"/>
              <a:gd name="connsiteX2" fmla="*/ 4842933 w 4842933"/>
              <a:gd name="connsiteY2" fmla="*/ 3708400 h 11209867"/>
              <a:gd name="connsiteX3" fmla="*/ 3572933 w 4842933"/>
              <a:gd name="connsiteY3" fmla="*/ 11209867 h 11209867"/>
              <a:gd name="connsiteX4" fmla="*/ 0 w 4842933"/>
              <a:gd name="connsiteY4" fmla="*/ 11209867 h 11209867"/>
              <a:gd name="connsiteX5" fmla="*/ 0 w 4842933"/>
              <a:gd name="connsiteY5" fmla="*/ 0 h 11209867"/>
              <a:gd name="connsiteX0" fmla="*/ 0 w 4842933"/>
              <a:gd name="connsiteY0" fmla="*/ 0 h 11209867"/>
              <a:gd name="connsiteX1" fmla="*/ 4588935 w 4842933"/>
              <a:gd name="connsiteY1" fmla="*/ 3183467 h 11209867"/>
              <a:gd name="connsiteX2" fmla="*/ 4842933 w 4842933"/>
              <a:gd name="connsiteY2" fmla="*/ 3708400 h 11209867"/>
              <a:gd name="connsiteX3" fmla="*/ 3572933 w 4842933"/>
              <a:gd name="connsiteY3" fmla="*/ 11209867 h 11209867"/>
              <a:gd name="connsiteX4" fmla="*/ 0 w 4842933"/>
              <a:gd name="connsiteY4" fmla="*/ 11209867 h 11209867"/>
              <a:gd name="connsiteX5" fmla="*/ 0 w 4842933"/>
              <a:gd name="connsiteY5" fmla="*/ 0 h 11209867"/>
              <a:gd name="connsiteX0" fmla="*/ 0 w 4844683"/>
              <a:gd name="connsiteY0" fmla="*/ 0 h 11209867"/>
              <a:gd name="connsiteX1" fmla="*/ 4588935 w 4844683"/>
              <a:gd name="connsiteY1" fmla="*/ 3183467 h 11209867"/>
              <a:gd name="connsiteX2" fmla="*/ 4842933 w 4844683"/>
              <a:gd name="connsiteY2" fmla="*/ 3708400 h 11209867"/>
              <a:gd name="connsiteX3" fmla="*/ 3572933 w 4844683"/>
              <a:gd name="connsiteY3" fmla="*/ 11209867 h 11209867"/>
              <a:gd name="connsiteX4" fmla="*/ 0 w 4844683"/>
              <a:gd name="connsiteY4" fmla="*/ 11209867 h 11209867"/>
              <a:gd name="connsiteX5" fmla="*/ 0 w 4844683"/>
              <a:gd name="connsiteY5" fmla="*/ 0 h 11209867"/>
              <a:gd name="connsiteX0" fmla="*/ 0 w 4846133"/>
              <a:gd name="connsiteY0" fmla="*/ 0 h 11209867"/>
              <a:gd name="connsiteX1" fmla="*/ 4588935 w 4846133"/>
              <a:gd name="connsiteY1" fmla="*/ 3183467 h 11209867"/>
              <a:gd name="connsiteX2" fmla="*/ 4842933 w 4846133"/>
              <a:gd name="connsiteY2" fmla="*/ 3708400 h 11209867"/>
              <a:gd name="connsiteX3" fmla="*/ 3572933 w 4846133"/>
              <a:gd name="connsiteY3" fmla="*/ 11209867 h 11209867"/>
              <a:gd name="connsiteX4" fmla="*/ 0 w 4846133"/>
              <a:gd name="connsiteY4" fmla="*/ 11209867 h 11209867"/>
              <a:gd name="connsiteX5" fmla="*/ 0 w 4846133"/>
              <a:gd name="connsiteY5" fmla="*/ 0 h 11209867"/>
              <a:gd name="connsiteX0" fmla="*/ 0 w 4847457"/>
              <a:gd name="connsiteY0" fmla="*/ 0 h 11209867"/>
              <a:gd name="connsiteX1" fmla="*/ 4588935 w 4847457"/>
              <a:gd name="connsiteY1" fmla="*/ 3183467 h 11209867"/>
              <a:gd name="connsiteX2" fmla="*/ 4842933 w 4847457"/>
              <a:gd name="connsiteY2" fmla="*/ 3708400 h 11209867"/>
              <a:gd name="connsiteX3" fmla="*/ 3572933 w 4847457"/>
              <a:gd name="connsiteY3" fmla="*/ 11209867 h 11209867"/>
              <a:gd name="connsiteX4" fmla="*/ 0 w 4847457"/>
              <a:gd name="connsiteY4" fmla="*/ 11209867 h 11209867"/>
              <a:gd name="connsiteX5" fmla="*/ 0 w 4847457"/>
              <a:gd name="connsiteY5" fmla="*/ 0 h 11209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47457" h="11209867">
                <a:moveTo>
                  <a:pt x="0" y="0"/>
                </a:moveTo>
                <a:lnTo>
                  <a:pt x="4588935" y="3183467"/>
                </a:lnTo>
                <a:cubicBezTo>
                  <a:pt x="4810761" y="3350825"/>
                  <a:pt x="4864947" y="3472462"/>
                  <a:pt x="4842933" y="3708400"/>
                </a:cubicBezTo>
                <a:lnTo>
                  <a:pt x="3572933" y="11209867"/>
                </a:lnTo>
                <a:lnTo>
                  <a:pt x="0" y="11209867"/>
                </a:lnTo>
                <a:lnTo>
                  <a:pt x="0" y="0"/>
                </a:lnTo>
                <a:close/>
              </a:path>
            </a:pathLst>
          </a:custGeom>
          <a:solidFill>
            <a:srgbClr val="0076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900"/>
          </a:p>
        </p:txBody>
      </p:sp>
      <p:sp>
        <p:nvSpPr>
          <p:cNvPr id="15" name="CaixaDeTexto 14">
            <a:extLst>
              <a:ext uri="{FF2B5EF4-FFF2-40B4-BE49-F238E27FC236}">
                <a16:creationId xmlns:a16="http://schemas.microsoft.com/office/drawing/2014/main" id="{D77F8EAE-34E8-D6C4-8BBE-ECBB023F967B}"/>
              </a:ext>
            </a:extLst>
          </p:cNvPr>
          <p:cNvSpPr txBox="1"/>
          <p:nvPr userDrawn="1"/>
        </p:nvSpPr>
        <p:spPr>
          <a:xfrm>
            <a:off x="655522" y="3641503"/>
            <a:ext cx="1484621" cy="420756"/>
          </a:xfrm>
          <a:prstGeom prst="rect">
            <a:avLst/>
          </a:prstGeom>
          <a:noFill/>
        </p:spPr>
        <p:txBody>
          <a:bodyPr wrap="square" rtlCol="0">
            <a:spAutoFit/>
          </a:bodyPr>
          <a:lstStyle/>
          <a:p>
            <a:r>
              <a:rPr lang="pt-BR" sz="1067">
                <a:solidFill>
                  <a:schemeClr val="bg1"/>
                </a:solidFill>
                <a:latin typeface="Trebuchet MS" panose="020B0603020202020204" pitchFamily="34" charset="0"/>
              </a:rPr>
              <a:t>Oleoduto de Petróleo</a:t>
            </a:r>
          </a:p>
        </p:txBody>
      </p:sp>
      <p:sp>
        <p:nvSpPr>
          <p:cNvPr id="16" name="CaixaDeTexto 15">
            <a:extLst>
              <a:ext uri="{FF2B5EF4-FFF2-40B4-BE49-F238E27FC236}">
                <a16:creationId xmlns:a16="http://schemas.microsoft.com/office/drawing/2014/main" id="{4A16904D-A940-B53E-938F-2CF5FB394034}"/>
              </a:ext>
            </a:extLst>
          </p:cNvPr>
          <p:cNvSpPr txBox="1"/>
          <p:nvPr userDrawn="1"/>
        </p:nvSpPr>
        <p:spPr>
          <a:xfrm>
            <a:off x="666831" y="3962683"/>
            <a:ext cx="1524861" cy="256545"/>
          </a:xfrm>
          <a:prstGeom prst="rect">
            <a:avLst/>
          </a:prstGeom>
          <a:noFill/>
        </p:spPr>
        <p:txBody>
          <a:bodyPr wrap="square" rtlCol="0">
            <a:spAutoFit/>
          </a:bodyPr>
          <a:lstStyle/>
          <a:p>
            <a:r>
              <a:rPr lang="pt-BR" sz="1067">
                <a:solidFill>
                  <a:schemeClr val="bg1"/>
                </a:solidFill>
                <a:latin typeface="Trebuchet MS" panose="020B0603020202020204" pitchFamily="34" charset="0"/>
              </a:rPr>
              <a:t>Oleoduto de Nafta</a:t>
            </a:r>
          </a:p>
        </p:txBody>
      </p:sp>
      <p:sp>
        <p:nvSpPr>
          <p:cNvPr id="17" name="CaixaDeTexto 16">
            <a:extLst>
              <a:ext uri="{FF2B5EF4-FFF2-40B4-BE49-F238E27FC236}">
                <a16:creationId xmlns:a16="http://schemas.microsoft.com/office/drawing/2014/main" id="{1EA95AE3-FE46-9945-F843-1087A9FB5637}"/>
              </a:ext>
            </a:extLst>
          </p:cNvPr>
          <p:cNvSpPr txBox="1"/>
          <p:nvPr userDrawn="1"/>
        </p:nvSpPr>
        <p:spPr>
          <a:xfrm>
            <a:off x="676126" y="4300513"/>
            <a:ext cx="1515567" cy="420756"/>
          </a:xfrm>
          <a:prstGeom prst="rect">
            <a:avLst/>
          </a:prstGeom>
          <a:noFill/>
        </p:spPr>
        <p:txBody>
          <a:bodyPr wrap="square" rtlCol="0">
            <a:spAutoFit/>
          </a:bodyPr>
          <a:lstStyle/>
          <a:p>
            <a:r>
              <a:rPr lang="pt-BR" sz="1067">
                <a:solidFill>
                  <a:schemeClr val="bg1"/>
                </a:solidFill>
                <a:latin typeface="Trebuchet MS" panose="020B0603020202020204" pitchFamily="34" charset="0"/>
              </a:rPr>
              <a:t>Oleoduto de Derivados</a:t>
            </a:r>
          </a:p>
        </p:txBody>
      </p:sp>
      <p:pic>
        <p:nvPicPr>
          <p:cNvPr id="18" name="Imagem 17">
            <a:extLst>
              <a:ext uri="{FF2B5EF4-FFF2-40B4-BE49-F238E27FC236}">
                <a16:creationId xmlns:a16="http://schemas.microsoft.com/office/drawing/2014/main" id="{6CA58D78-4A26-A9C0-9B95-8FFBFD15B4B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85627" y="3601732"/>
            <a:ext cx="469895" cy="289827"/>
          </a:xfrm>
          <a:prstGeom prst="rect">
            <a:avLst/>
          </a:prstGeom>
        </p:spPr>
      </p:pic>
      <p:pic>
        <p:nvPicPr>
          <p:cNvPr id="19" name="Imagem 18">
            <a:extLst>
              <a:ext uri="{FF2B5EF4-FFF2-40B4-BE49-F238E27FC236}">
                <a16:creationId xmlns:a16="http://schemas.microsoft.com/office/drawing/2014/main" id="{0EB18F49-5C60-6FD9-4706-D9C3E1BAC83C}"/>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96071" y="4274567"/>
            <a:ext cx="480055" cy="281863"/>
          </a:xfrm>
          <a:prstGeom prst="rect">
            <a:avLst/>
          </a:prstGeom>
        </p:spPr>
      </p:pic>
      <p:pic>
        <p:nvPicPr>
          <p:cNvPr id="20" name="Imagem 19">
            <a:extLst>
              <a:ext uri="{FF2B5EF4-FFF2-40B4-BE49-F238E27FC236}">
                <a16:creationId xmlns:a16="http://schemas.microsoft.com/office/drawing/2014/main" id="{9F544C9A-8330-D5CA-C925-189F22DC4C5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85625" y="3931331"/>
            <a:ext cx="481205" cy="271501"/>
          </a:xfrm>
          <a:prstGeom prst="rect">
            <a:avLst/>
          </a:prstGeom>
        </p:spPr>
      </p:pic>
      <p:sp>
        <p:nvSpPr>
          <p:cNvPr id="21" name="CaixaDeTexto 20">
            <a:extLst>
              <a:ext uri="{FF2B5EF4-FFF2-40B4-BE49-F238E27FC236}">
                <a16:creationId xmlns:a16="http://schemas.microsoft.com/office/drawing/2014/main" id="{B2ECEF0A-DB7D-68CC-F072-306B64500B1D}"/>
              </a:ext>
            </a:extLst>
          </p:cNvPr>
          <p:cNvSpPr txBox="1"/>
          <p:nvPr userDrawn="1"/>
        </p:nvSpPr>
        <p:spPr>
          <a:xfrm>
            <a:off x="143340" y="2176610"/>
            <a:ext cx="2112235" cy="666977"/>
          </a:xfrm>
          <a:prstGeom prst="rect">
            <a:avLst/>
          </a:prstGeom>
          <a:noFill/>
        </p:spPr>
        <p:txBody>
          <a:bodyPr wrap="square" rtlCol="0">
            <a:spAutoFit/>
          </a:bodyPr>
          <a:lstStyle/>
          <a:p>
            <a:r>
              <a:rPr lang="pt-BR" sz="1867" i="1">
                <a:solidFill>
                  <a:schemeClr val="bg1"/>
                </a:solidFill>
                <a:latin typeface="Trebuchet MS" panose="020B0603020202020204" pitchFamily="34" charset="0"/>
              </a:rPr>
              <a:t>Malha </a:t>
            </a:r>
          </a:p>
          <a:p>
            <a:r>
              <a:rPr lang="pt-BR" sz="1867" i="1">
                <a:solidFill>
                  <a:schemeClr val="bg1"/>
                </a:solidFill>
                <a:latin typeface="Trebuchet MS" panose="020B0603020202020204" pitchFamily="34" charset="0"/>
              </a:rPr>
              <a:t>Logística</a:t>
            </a:r>
          </a:p>
        </p:txBody>
      </p:sp>
      <p:pic>
        <p:nvPicPr>
          <p:cNvPr id="22" name="Imagem 21">
            <a:extLst>
              <a:ext uri="{FF2B5EF4-FFF2-40B4-BE49-F238E27FC236}">
                <a16:creationId xmlns:a16="http://schemas.microsoft.com/office/drawing/2014/main" id="{3C71333D-F1EE-4EDB-1216-FE96F201149E}"/>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6557" y="4582376"/>
            <a:ext cx="527307" cy="553267"/>
          </a:xfrm>
          <a:prstGeom prst="rect">
            <a:avLst/>
          </a:prstGeom>
        </p:spPr>
      </p:pic>
      <p:pic>
        <p:nvPicPr>
          <p:cNvPr id="23" name="Imagem 22">
            <a:extLst>
              <a:ext uri="{FF2B5EF4-FFF2-40B4-BE49-F238E27FC236}">
                <a16:creationId xmlns:a16="http://schemas.microsoft.com/office/drawing/2014/main" id="{183EB506-415B-68EA-2B46-3B05454BA75E}"/>
              </a:ext>
            </a:extLst>
          </p:cNvPr>
          <p:cNvPicPr/>
          <p:nvPr userDrawn="1"/>
        </p:nvPicPr>
        <p:blipFill>
          <a:blip r:embed="rId8" cstate="print">
            <a:extLst>
              <a:ext uri="{28A0092B-C50C-407E-A947-70E740481C1C}">
                <a14:useLocalDpi xmlns:a14="http://schemas.microsoft.com/office/drawing/2010/main" val="0"/>
              </a:ext>
            </a:extLst>
          </a:blip>
          <a:stretch>
            <a:fillRect/>
          </a:stretch>
        </p:blipFill>
        <p:spPr>
          <a:xfrm>
            <a:off x="151601" y="5129489"/>
            <a:ext cx="475459" cy="500063"/>
          </a:xfrm>
          <a:prstGeom prst="ellipse">
            <a:avLst/>
          </a:prstGeom>
        </p:spPr>
      </p:pic>
      <p:pic>
        <p:nvPicPr>
          <p:cNvPr id="26" name="Imagem 25">
            <a:extLst>
              <a:ext uri="{FF2B5EF4-FFF2-40B4-BE49-F238E27FC236}">
                <a16:creationId xmlns:a16="http://schemas.microsoft.com/office/drawing/2014/main" id="{BC9F416A-D683-6F13-2CBA-7DB9A9443DA2}"/>
              </a:ext>
            </a:extLst>
          </p:cNvPr>
          <p:cNvPicPr/>
          <p:nvPr userDrawn="1"/>
        </p:nvPicPr>
        <p:blipFill rotWithShape="1">
          <a:blip r:embed="rId9" cstate="print">
            <a:extLst>
              <a:ext uri="{28A0092B-C50C-407E-A947-70E740481C1C}">
                <a14:useLocalDpi xmlns:a14="http://schemas.microsoft.com/office/drawing/2010/main" val="0"/>
              </a:ext>
            </a:extLst>
          </a:blip>
          <a:srcRect/>
          <a:stretch/>
        </p:blipFill>
        <p:spPr>
          <a:xfrm>
            <a:off x="122482" y="5663924"/>
            <a:ext cx="482916" cy="494744"/>
          </a:xfrm>
          <a:prstGeom prst="ellipse">
            <a:avLst/>
          </a:prstGeom>
        </p:spPr>
      </p:pic>
      <p:pic>
        <p:nvPicPr>
          <p:cNvPr id="28" name="Imagem 27">
            <a:extLst>
              <a:ext uri="{FF2B5EF4-FFF2-40B4-BE49-F238E27FC236}">
                <a16:creationId xmlns:a16="http://schemas.microsoft.com/office/drawing/2014/main" id="{4FDF4298-5068-686D-CE4A-AE677628A102}"/>
              </a:ext>
            </a:extLst>
          </p:cNvPr>
          <p:cNvPicPr/>
          <p:nvPr userDrawn="1"/>
        </p:nvPicPr>
        <p:blipFill>
          <a:blip r:embed="rId10">
            <a:extLst>
              <a:ext uri="{28A0092B-C50C-407E-A947-70E740481C1C}">
                <a14:useLocalDpi xmlns:a14="http://schemas.microsoft.com/office/drawing/2010/main" val="0"/>
              </a:ext>
            </a:extLst>
          </a:blip>
          <a:stretch>
            <a:fillRect/>
          </a:stretch>
        </p:blipFill>
        <p:spPr>
          <a:xfrm>
            <a:off x="122482" y="6208763"/>
            <a:ext cx="521383" cy="514351"/>
          </a:xfrm>
          <a:prstGeom prst="ellipse">
            <a:avLst/>
          </a:prstGeom>
        </p:spPr>
      </p:pic>
      <p:sp>
        <p:nvSpPr>
          <p:cNvPr id="30" name="CaixaDeTexto 29">
            <a:extLst>
              <a:ext uri="{FF2B5EF4-FFF2-40B4-BE49-F238E27FC236}">
                <a16:creationId xmlns:a16="http://schemas.microsoft.com/office/drawing/2014/main" id="{D1D50474-AF23-6B26-635C-29F26D7DF4D7}"/>
              </a:ext>
            </a:extLst>
          </p:cNvPr>
          <p:cNvSpPr txBox="1"/>
          <p:nvPr userDrawn="1"/>
        </p:nvSpPr>
        <p:spPr>
          <a:xfrm>
            <a:off x="643865" y="4719480"/>
            <a:ext cx="954785" cy="256545"/>
          </a:xfrm>
          <a:prstGeom prst="rect">
            <a:avLst/>
          </a:prstGeom>
          <a:noFill/>
        </p:spPr>
        <p:txBody>
          <a:bodyPr wrap="square" rtlCol="0">
            <a:spAutoFit/>
          </a:bodyPr>
          <a:lstStyle/>
          <a:p>
            <a:r>
              <a:rPr lang="pt-BR" sz="1067">
                <a:solidFill>
                  <a:schemeClr val="bg1"/>
                </a:solidFill>
                <a:latin typeface="Trebuchet MS" panose="020B0603020202020204" pitchFamily="34" charset="0"/>
              </a:rPr>
              <a:t>Terminais</a:t>
            </a:r>
          </a:p>
        </p:txBody>
      </p:sp>
      <p:sp>
        <p:nvSpPr>
          <p:cNvPr id="31" name="CaixaDeTexto 30">
            <a:extLst>
              <a:ext uri="{FF2B5EF4-FFF2-40B4-BE49-F238E27FC236}">
                <a16:creationId xmlns:a16="http://schemas.microsoft.com/office/drawing/2014/main" id="{5BEF4279-7EE1-4F48-D1C1-853C67C9A262}"/>
              </a:ext>
            </a:extLst>
          </p:cNvPr>
          <p:cNvSpPr txBox="1"/>
          <p:nvPr userDrawn="1"/>
        </p:nvSpPr>
        <p:spPr>
          <a:xfrm>
            <a:off x="666831" y="5265181"/>
            <a:ext cx="1143163" cy="256545"/>
          </a:xfrm>
          <a:prstGeom prst="rect">
            <a:avLst/>
          </a:prstGeom>
          <a:noFill/>
        </p:spPr>
        <p:txBody>
          <a:bodyPr wrap="square" rtlCol="0">
            <a:spAutoFit/>
          </a:bodyPr>
          <a:lstStyle/>
          <a:p>
            <a:r>
              <a:rPr lang="pt-BR" sz="1067">
                <a:solidFill>
                  <a:schemeClr val="bg1"/>
                </a:solidFill>
                <a:latin typeface="Trebuchet MS" panose="020B0603020202020204" pitchFamily="34" charset="0"/>
              </a:rPr>
              <a:t>Refinarias</a:t>
            </a:r>
          </a:p>
        </p:txBody>
      </p:sp>
      <p:sp>
        <p:nvSpPr>
          <p:cNvPr id="32" name="CaixaDeTexto 31">
            <a:extLst>
              <a:ext uri="{FF2B5EF4-FFF2-40B4-BE49-F238E27FC236}">
                <a16:creationId xmlns:a16="http://schemas.microsoft.com/office/drawing/2014/main" id="{AE86E331-B119-CD25-ACE4-9EDA8BB17CE3}"/>
              </a:ext>
            </a:extLst>
          </p:cNvPr>
          <p:cNvSpPr txBox="1"/>
          <p:nvPr userDrawn="1"/>
        </p:nvSpPr>
        <p:spPr>
          <a:xfrm>
            <a:off x="676525" y="5806155"/>
            <a:ext cx="1123775" cy="256545"/>
          </a:xfrm>
          <a:prstGeom prst="rect">
            <a:avLst/>
          </a:prstGeom>
          <a:noFill/>
        </p:spPr>
        <p:txBody>
          <a:bodyPr wrap="square" rtlCol="0">
            <a:spAutoFit/>
          </a:bodyPr>
          <a:lstStyle/>
          <a:p>
            <a:r>
              <a:rPr lang="pt-BR" sz="1067">
                <a:solidFill>
                  <a:schemeClr val="bg1"/>
                </a:solidFill>
                <a:latin typeface="Trebuchet MS" panose="020B0603020202020204" pitchFamily="34" charset="0"/>
              </a:rPr>
              <a:t>Distribuidoras</a:t>
            </a:r>
          </a:p>
        </p:txBody>
      </p:sp>
      <p:sp>
        <p:nvSpPr>
          <p:cNvPr id="33" name="CaixaDeTexto 32">
            <a:extLst>
              <a:ext uri="{FF2B5EF4-FFF2-40B4-BE49-F238E27FC236}">
                <a16:creationId xmlns:a16="http://schemas.microsoft.com/office/drawing/2014/main" id="{C20C08D5-C60B-79DC-F660-2F8B2B33651D}"/>
              </a:ext>
            </a:extLst>
          </p:cNvPr>
          <p:cNvSpPr txBox="1"/>
          <p:nvPr userDrawn="1"/>
        </p:nvSpPr>
        <p:spPr>
          <a:xfrm>
            <a:off x="676126" y="6343391"/>
            <a:ext cx="1025393" cy="256545"/>
          </a:xfrm>
          <a:prstGeom prst="rect">
            <a:avLst/>
          </a:prstGeom>
          <a:noFill/>
        </p:spPr>
        <p:txBody>
          <a:bodyPr wrap="square" rtlCol="0">
            <a:spAutoFit/>
          </a:bodyPr>
          <a:lstStyle/>
          <a:p>
            <a:r>
              <a:rPr lang="pt-BR" sz="1067">
                <a:solidFill>
                  <a:schemeClr val="bg1"/>
                </a:solidFill>
                <a:latin typeface="Trebuchet MS" panose="020B0603020202020204" pitchFamily="34" charset="0"/>
              </a:rPr>
              <a:t>Estações</a:t>
            </a:r>
          </a:p>
        </p:txBody>
      </p:sp>
      <p:pic>
        <p:nvPicPr>
          <p:cNvPr id="34" name="Imagem 33">
            <a:extLst>
              <a:ext uri="{FF2B5EF4-FFF2-40B4-BE49-F238E27FC236}">
                <a16:creationId xmlns:a16="http://schemas.microsoft.com/office/drawing/2014/main" id="{4EE1D877-E96F-CAA7-DDF7-44F74F80259C}"/>
              </a:ext>
            </a:extLst>
          </p:cNvPr>
          <p:cNvPicPr/>
          <p:nvPr userDrawn="1"/>
        </p:nvPicPr>
        <p:blipFill>
          <a:blip r:embed="rId11">
            <a:extLst>
              <a:ext uri="{28A0092B-C50C-407E-A947-70E740481C1C}">
                <a14:useLocalDpi xmlns:a14="http://schemas.microsoft.com/office/drawing/2010/main" val="0"/>
              </a:ext>
            </a:extLst>
          </a:blip>
          <a:stretch>
            <a:fillRect/>
          </a:stretch>
        </p:blipFill>
        <p:spPr>
          <a:xfrm>
            <a:off x="4181725" y="5287044"/>
            <a:ext cx="963115" cy="1012953"/>
          </a:xfrm>
          <a:prstGeom prst="ellipse">
            <a:avLst/>
          </a:prstGeom>
        </p:spPr>
      </p:pic>
      <p:pic>
        <p:nvPicPr>
          <p:cNvPr id="35" name="Imagem 34">
            <a:extLst>
              <a:ext uri="{FF2B5EF4-FFF2-40B4-BE49-F238E27FC236}">
                <a16:creationId xmlns:a16="http://schemas.microsoft.com/office/drawing/2014/main" id="{6908E78A-17C4-DE2A-F439-C9607C8825A7}"/>
              </a:ext>
            </a:extLst>
          </p:cNvPr>
          <p:cNvPicPr/>
          <p:nvPr userDrawn="1"/>
        </p:nvPicPr>
        <p:blipFill>
          <a:blip r:embed="rId11">
            <a:extLst>
              <a:ext uri="{28A0092B-C50C-407E-A947-70E740481C1C}">
                <a14:useLocalDpi xmlns:a14="http://schemas.microsoft.com/office/drawing/2010/main" val="0"/>
              </a:ext>
            </a:extLst>
          </a:blip>
          <a:stretch>
            <a:fillRect/>
          </a:stretch>
        </p:blipFill>
        <p:spPr>
          <a:xfrm>
            <a:off x="5881660" y="1109017"/>
            <a:ext cx="963115" cy="1012953"/>
          </a:xfrm>
          <a:prstGeom prst="ellipse">
            <a:avLst/>
          </a:prstGeom>
        </p:spPr>
      </p:pic>
      <p:pic>
        <p:nvPicPr>
          <p:cNvPr id="36" name="Imagem 35">
            <a:extLst>
              <a:ext uri="{FF2B5EF4-FFF2-40B4-BE49-F238E27FC236}">
                <a16:creationId xmlns:a16="http://schemas.microsoft.com/office/drawing/2014/main" id="{B3876011-3A5C-71CD-11C5-729256B3791E}"/>
              </a:ext>
            </a:extLst>
          </p:cNvPr>
          <p:cNvPicPr/>
          <p:nvPr userDrawn="1"/>
        </p:nvPicPr>
        <p:blipFill>
          <a:blip r:embed="rId10">
            <a:extLst>
              <a:ext uri="{28A0092B-C50C-407E-A947-70E740481C1C}">
                <a14:useLocalDpi xmlns:a14="http://schemas.microsoft.com/office/drawing/2010/main" val="0"/>
              </a:ext>
            </a:extLst>
          </a:blip>
          <a:stretch>
            <a:fillRect/>
          </a:stretch>
        </p:blipFill>
        <p:spPr>
          <a:xfrm>
            <a:off x="7125698" y="1130347"/>
            <a:ext cx="624279" cy="615859"/>
          </a:xfrm>
          <a:prstGeom prst="ellipse">
            <a:avLst/>
          </a:prstGeom>
        </p:spPr>
      </p:pic>
      <p:pic>
        <p:nvPicPr>
          <p:cNvPr id="37" name="Imagem 36">
            <a:extLst>
              <a:ext uri="{FF2B5EF4-FFF2-40B4-BE49-F238E27FC236}">
                <a16:creationId xmlns:a16="http://schemas.microsoft.com/office/drawing/2014/main" id="{3D02F215-C328-F6BB-8076-2352FFEAAE2E}"/>
              </a:ext>
            </a:extLst>
          </p:cNvPr>
          <p:cNvPicPr/>
          <p:nvPr userDrawn="1"/>
        </p:nvPicPr>
        <p:blipFill>
          <a:blip r:embed="rId11">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3960795" y="1042342"/>
            <a:ext cx="963115" cy="1012953"/>
          </a:xfrm>
          <a:prstGeom prst="ellipse">
            <a:avLst/>
          </a:prstGeom>
        </p:spPr>
      </p:pic>
      <p:pic>
        <p:nvPicPr>
          <p:cNvPr id="38" name="Imagem 37">
            <a:extLst>
              <a:ext uri="{FF2B5EF4-FFF2-40B4-BE49-F238E27FC236}">
                <a16:creationId xmlns:a16="http://schemas.microsoft.com/office/drawing/2014/main" id="{D1ACEDCC-9BE1-5917-344B-EC6B556E055B}"/>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8253068" y="962530"/>
            <a:ext cx="629829" cy="660837"/>
          </a:xfrm>
          <a:prstGeom prst="rect">
            <a:avLst/>
          </a:prstGeom>
        </p:spPr>
      </p:pic>
      <p:pic>
        <p:nvPicPr>
          <p:cNvPr id="39" name="Imagem 38">
            <a:extLst>
              <a:ext uri="{FF2B5EF4-FFF2-40B4-BE49-F238E27FC236}">
                <a16:creationId xmlns:a16="http://schemas.microsoft.com/office/drawing/2014/main" id="{777EF43B-769E-25F9-A66B-36A91ABEF234}"/>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6214945" y="2466682"/>
            <a:ext cx="629829" cy="660837"/>
          </a:xfrm>
          <a:prstGeom prst="rect">
            <a:avLst/>
          </a:prstGeom>
        </p:spPr>
      </p:pic>
      <p:pic>
        <p:nvPicPr>
          <p:cNvPr id="40" name="Imagem 39">
            <a:extLst>
              <a:ext uri="{FF2B5EF4-FFF2-40B4-BE49-F238E27FC236}">
                <a16:creationId xmlns:a16="http://schemas.microsoft.com/office/drawing/2014/main" id="{EF8CCD58-F00F-F3D0-AFB2-8069A767B334}"/>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4710112" y="1724876"/>
            <a:ext cx="629829" cy="660837"/>
          </a:xfrm>
          <a:prstGeom prst="rect">
            <a:avLst/>
          </a:prstGeom>
        </p:spPr>
      </p:pic>
      <p:pic>
        <p:nvPicPr>
          <p:cNvPr id="41" name="Imagem 40">
            <a:extLst>
              <a:ext uri="{FF2B5EF4-FFF2-40B4-BE49-F238E27FC236}">
                <a16:creationId xmlns:a16="http://schemas.microsoft.com/office/drawing/2014/main" id="{B94E9E84-F9B4-911F-EB24-DC8840616A8C}"/>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6510806" y="2448648"/>
            <a:ext cx="629829" cy="660837"/>
          </a:xfrm>
          <a:prstGeom prst="rect">
            <a:avLst/>
          </a:prstGeom>
        </p:spPr>
      </p:pic>
      <p:pic>
        <p:nvPicPr>
          <p:cNvPr id="42" name="Imagem 41">
            <a:extLst>
              <a:ext uri="{FF2B5EF4-FFF2-40B4-BE49-F238E27FC236}">
                <a16:creationId xmlns:a16="http://schemas.microsoft.com/office/drawing/2014/main" id="{8C5FCFEF-68D2-1B76-3B8C-49191C7BB83A}"/>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5827854" y="5166620"/>
            <a:ext cx="629829" cy="660837"/>
          </a:xfrm>
          <a:prstGeom prst="rect">
            <a:avLst/>
          </a:prstGeom>
        </p:spPr>
      </p:pic>
      <p:pic>
        <p:nvPicPr>
          <p:cNvPr id="43" name="Imagem 42">
            <a:extLst>
              <a:ext uri="{FF2B5EF4-FFF2-40B4-BE49-F238E27FC236}">
                <a16:creationId xmlns:a16="http://schemas.microsoft.com/office/drawing/2014/main" id="{8AEF2BB9-2F3E-5E3D-8747-6BF7F2A477AB}"/>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5900031" y="5592896"/>
            <a:ext cx="629829" cy="660837"/>
          </a:xfrm>
          <a:prstGeom prst="rect">
            <a:avLst/>
          </a:prstGeom>
        </p:spPr>
      </p:pic>
      <p:sp>
        <p:nvSpPr>
          <p:cNvPr id="44" name="CaixaDeTexto 43">
            <a:extLst>
              <a:ext uri="{FF2B5EF4-FFF2-40B4-BE49-F238E27FC236}">
                <a16:creationId xmlns:a16="http://schemas.microsoft.com/office/drawing/2014/main" id="{D38E9E25-8808-3BFF-E1B0-871C8818672E}"/>
              </a:ext>
            </a:extLst>
          </p:cNvPr>
          <p:cNvSpPr txBox="1"/>
          <p:nvPr userDrawn="1"/>
        </p:nvSpPr>
        <p:spPr>
          <a:xfrm>
            <a:off x="325853" y="259588"/>
            <a:ext cx="2727029" cy="461665"/>
          </a:xfrm>
          <a:prstGeom prst="rect">
            <a:avLst/>
          </a:prstGeom>
          <a:solidFill>
            <a:srgbClr val="96D8CE"/>
          </a:solidFill>
        </p:spPr>
        <p:txBody>
          <a:bodyPr wrap="none" rtlCol="0">
            <a:spAutoFit/>
          </a:bodyPr>
          <a:lstStyle/>
          <a:p>
            <a:r>
              <a:rPr lang="pt-BR" sz="2400" b="1">
                <a:solidFill>
                  <a:schemeClr val="bg1"/>
                </a:solidFill>
              </a:rPr>
              <a:t>Rio Grande do Sul</a:t>
            </a:r>
          </a:p>
        </p:txBody>
      </p:sp>
    </p:spTree>
    <p:extLst>
      <p:ext uri="{BB962C8B-B14F-4D97-AF65-F5344CB8AC3E}">
        <p14:creationId xmlns:p14="http://schemas.microsoft.com/office/powerpoint/2010/main" val="1844379101"/>
      </p:ext>
    </p:extLst>
  </p:cSld>
  <p:clrMapOvr>
    <a:masterClrMapping/>
  </p:clrMapOvr>
  <p:transition spd="med">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_Layout Personalizado">
    <p:spTree>
      <p:nvGrpSpPr>
        <p:cNvPr id="1" name=""/>
        <p:cNvGrpSpPr/>
        <p:nvPr/>
      </p:nvGrpSpPr>
      <p:grpSpPr>
        <a:xfrm>
          <a:off x="0" y="0"/>
          <a:ext cx="0" cy="0"/>
          <a:chOff x="0" y="0"/>
          <a:chExt cx="0" cy="0"/>
        </a:xfrm>
      </p:grpSpPr>
      <p:pic>
        <p:nvPicPr>
          <p:cNvPr id="4" name="Imagem 3">
            <a:extLst>
              <a:ext uri="{FF2B5EF4-FFF2-40B4-BE49-F238E27FC236}">
                <a16:creationId xmlns:a16="http://schemas.microsoft.com/office/drawing/2014/main" id="{25C68B96-6F06-AFB3-9732-7A8941F67C0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96" y="0"/>
            <a:ext cx="12183605" cy="6858000"/>
          </a:xfrm>
          <a:prstGeom prst="rect">
            <a:avLst/>
          </a:prstGeom>
        </p:spPr>
      </p:pic>
      <p:sp>
        <p:nvSpPr>
          <p:cNvPr id="8" name="Elipse 7">
            <a:extLst>
              <a:ext uri="{FF2B5EF4-FFF2-40B4-BE49-F238E27FC236}">
                <a16:creationId xmlns:a16="http://schemas.microsoft.com/office/drawing/2014/main" id="{0B8F7E35-3356-A1C8-3249-5CF336C2240C}"/>
              </a:ext>
            </a:extLst>
          </p:cNvPr>
          <p:cNvSpPr/>
          <p:nvPr userDrawn="1"/>
        </p:nvSpPr>
        <p:spPr>
          <a:xfrm>
            <a:off x="11685201" y="6374991"/>
            <a:ext cx="398311" cy="398207"/>
          </a:xfrm>
          <a:prstGeom prst="ellipse">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800" b="1">
                <a:solidFill>
                  <a:srgbClr val="006199"/>
                </a:solidFill>
              </a:rPr>
              <a:t>P</a:t>
            </a:r>
          </a:p>
        </p:txBody>
      </p:sp>
      <p:sp>
        <p:nvSpPr>
          <p:cNvPr id="9" name="Elipse 8">
            <a:extLst>
              <a:ext uri="{FF2B5EF4-FFF2-40B4-BE49-F238E27FC236}">
                <a16:creationId xmlns:a16="http://schemas.microsoft.com/office/drawing/2014/main" id="{7062DBA6-625F-8FDA-DD2C-D2A6A077540B}"/>
              </a:ext>
            </a:extLst>
          </p:cNvPr>
          <p:cNvSpPr/>
          <p:nvPr userDrawn="1"/>
        </p:nvSpPr>
        <p:spPr>
          <a:xfrm>
            <a:off x="11685201" y="6374991"/>
            <a:ext cx="398311" cy="39820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800" b="1"/>
              <a:t>I</a:t>
            </a:r>
          </a:p>
        </p:txBody>
      </p:sp>
      <p:sp>
        <p:nvSpPr>
          <p:cNvPr id="12" name="Elipse 11">
            <a:extLst>
              <a:ext uri="{FF2B5EF4-FFF2-40B4-BE49-F238E27FC236}">
                <a16:creationId xmlns:a16="http://schemas.microsoft.com/office/drawing/2014/main" id="{6E4AECD8-0EB6-D2AF-ED57-3541850CBA03}"/>
              </a:ext>
            </a:extLst>
          </p:cNvPr>
          <p:cNvSpPr/>
          <p:nvPr userDrawn="1"/>
        </p:nvSpPr>
        <p:spPr>
          <a:xfrm>
            <a:off x="11685201" y="6374991"/>
            <a:ext cx="398311" cy="398207"/>
          </a:xfrm>
          <a:prstGeom prst="ellipse">
            <a:avLst/>
          </a:prstGeom>
          <a:solidFill>
            <a:srgbClr val="C400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800" b="1"/>
              <a:t>S</a:t>
            </a:r>
          </a:p>
        </p:txBody>
      </p:sp>
      <p:sp>
        <p:nvSpPr>
          <p:cNvPr id="10" name="Elipse 9">
            <a:extLst>
              <a:ext uri="{FF2B5EF4-FFF2-40B4-BE49-F238E27FC236}">
                <a16:creationId xmlns:a16="http://schemas.microsoft.com/office/drawing/2014/main" id="{9550DBBB-5836-809E-4571-D88E7FED59C2}"/>
              </a:ext>
            </a:extLst>
          </p:cNvPr>
          <p:cNvSpPr/>
          <p:nvPr userDrawn="1"/>
        </p:nvSpPr>
        <p:spPr>
          <a:xfrm>
            <a:off x="11685201" y="6374991"/>
            <a:ext cx="398311" cy="398207"/>
          </a:xfrm>
          <a:prstGeom prst="ellipse">
            <a:avLst/>
          </a:prstGeom>
          <a:solidFill>
            <a:srgbClr val="FDC8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800" b="1">
                <a:solidFill>
                  <a:srgbClr val="00619D"/>
                </a:solidFill>
              </a:rPr>
              <a:t>C</a:t>
            </a:r>
          </a:p>
        </p:txBody>
      </p:sp>
      <p:sp>
        <p:nvSpPr>
          <p:cNvPr id="6" name="Retângulo 4">
            <a:extLst>
              <a:ext uri="{FF2B5EF4-FFF2-40B4-BE49-F238E27FC236}">
                <a16:creationId xmlns:a16="http://schemas.microsoft.com/office/drawing/2014/main" id="{7BF500D3-FA63-CF54-FE7F-797B616DCEBB}"/>
              </a:ext>
            </a:extLst>
          </p:cNvPr>
          <p:cNvSpPr/>
          <p:nvPr userDrawn="1"/>
        </p:nvSpPr>
        <p:spPr>
          <a:xfrm>
            <a:off x="1807" y="1438276"/>
            <a:ext cx="2355923" cy="5419725"/>
          </a:xfrm>
          <a:custGeom>
            <a:avLst/>
            <a:gdLst>
              <a:gd name="connsiteX0" fmla="*/ 0 w 4710618"/>
              <a:gd name="connsiteY0" fmla="*/ 0 h 10839450"/>
              <a:gd name="connsiteX1" fmla="*/ 4710618 w 4710618"/>
              <a:gd name="connsiteY1" fmla="*/ 0 h 10839450"/>
              <a:gd name="connsiteX2" fmla="*/ 4710618 w 4710618"/>
              <a:gd name="connsiteY2" fmla="*/ 10839450 h 10839450"/>
              <a:gd name="connsiteX3" fmla="*/ 0 w 4710618"/>
              <a:gd name="connsiteY3" fmla="*/ 10839450 h 10839450"/>
              <a:gd name="connsiteX4" fmla="*/ 0 w 4710618"/>
              <a:gd name="connsiteY4" fmla="*/ 0 h 10839450"/>
              <a:gd name="connsiteX0" fmla="*/ 0 w 4710618"/>
              <a:gd name="connsiteY0" fmla="*/ 0 h 10839450"/>
              <a:gd name="connsiteX1" fmla="*/ 3224718 w 4710618"/>
              <a:gd name="connsiteY1" fmla="*/ 1581150 h 10839450"/>
              <a:gd name="connsiteX2" fmla="*/ 4710618 w 4710618"/>
              <a:gd name="connsiteY2" fmla="*/ 10839450 h 10839450"/>
              <a:gd name="connsiteX3" fmla="*/ 0 w 4710618"/>
              <a:gd name="connsiteY3" fmla="*/ 10839450 h 10839450"/>
              <a:gd name="connsiteX4" fmla="*/ 0 w 4710618"/>
              <a:gd name="connsiteY4" fmla="*/ 0 h 10839450"/>
              <a:gd name="connsiteX0" fmla="*/ 0 w 4710618"/>
              <a:gd name="connsiteY0" fmla="*/ 0 h 10839450"/>
              <a:gd name="connsiteX1" fmla="*/ 3872418 w 4710618"/>
              <a:gd name="connsiteY1" fmla="*/ 1447800 h 10839450"/>
              <a:gd name="connsiteX2" fmla="*/ 4710618 w 4710618"/>
              <a:gd name="connsiteY2" fmla="*/ 10839450 h 10839450"/>
              <a:gd name="connsiteX3" fmla="*/ 0 w 4710618"/>
              <a:gd name="connsiteY3" fmla="*/ 10839450 h 10839450"/>
              <a:gd name="connsiteX4" fmla="*/ 0 w 4710618"/>
              <a:gd name="connsiteY4" fmla="*/ 0 h 10839450"/>
              <a:gd name="connsiteX0" fmla="*/ 0 w 4710618"/>
              <a:gd name="connsiteY0" fmla="*/ 0 h 10839450"/>
              <a:gd name="connsiteX1" fmla="*/ 3319968 w 4710618"/>
              <a:gd name="connsiteY1" fmla="*/ 1257300 h 10839450"/>
              <a:gd name="connsiteX2" fmla="*/ 3872418 w 4710618"/>
              <a:gd name="connsiteY2" fmla="*/ 1447800 h 10839450"/>
              <a:gd name="connsiteX3" fmla="*/ 4710618 w 4710618"/>
              <a:gd name="connsiteY3" fmla="*/ 10839450 h 10839450"/>
              <a:gd name="connsiteX4" fmla="*/ 0 w 4710618"/>
              <a:gd name="connsiteY4" fmla="*/ 10839450 h 10839450"/>
              <a:gd name="connsiteX5" fmla="*/ 0 w 4710618"/>
              <a:gd name="connsiteY5" fmla="*/ 0 h 10839450"/>
              <a:gd name="connsiteX0" fmla="*/ 0 w 4710618"/>
              <a:gd name="connsiteY0" fmla="*/ 0 h 10839450"/>
              <a:gd name="connsiteX1" fmla="*/ 3434268 w 4710618"/>
              <a:gd name="connsiteY1" fmla="*/ 1047750 h 10839450"/>
              <a:gd name="connsiteX2" fmla="*/ 3872418 w 4710618"/>
              <a:gd name="connsiteY2" fmla="*/ 1447800 h 10839450"/>
              <a:gd name="connsiteX3" fmla="*/ 4710618 w 4710618"/>
              <a:gd name="connsiteY3" fmla="*/ 10839450 h 10839450"/>
              <a:gd name="connsiteX4" fmla="*/ 0 w 4710618"/>
              <a:gd name="connsiteY4" fmla="*/ 10839450 h 10839450"/>
              <a:gd name="connsiteX5" fmla="*/ 0 w 4710618"/>
              <a:gd name="connsiteY5" fmla="*/ 0 h 10839450"/>
              <a:gd name="connsiteX0" fmla="*/ 0 w 4710618"/>
              <a:gd name="connsiteY0" fmla="*/ 0 h 10839450"/>
              <a:gd name="connsiteX1" fmla="*/ 3434268 w 4710618"/>
              <a:gd name="connsiteY1" fmla="*/ 1047750 h 10839450"/>
              <a:gd name="connsiteX2" fmla="*/ 3872418 w 4710618"/>
              <a:gd name="connsiteY2" fmla="*/ 1447800 h 10839450"/>
              <a:gd name="connsiteX3" fmla="*/ 4710618 w 4710618"/>
              <a:gd name="connsiteY3" fmla="*/ 10839450 h 10839450"/>
              <a:gd name="connsiteX4" fmla="*/ 0 w 4710618"/>
              <a:gd name="connsiteY4" fmla="*/ 10839450 h 10839450"/>
              <a:gd name="connsiteX5" fmla="*/ 0 w 4710618"/>
              <a:gd name="connsiteY5" fmla="*/ 0 h 10839450"/>
              <a:gd name="connsiteX0" fmla="*/ 0 w 4710618"/>
              <a:gd name="connsiteY0" fmla="*/ 0 h 10839450"/>
              <a:gd name="connsiteX1" fmla="*/ 3434268 w 4710618"/>
              <a:gd name="connsiteY1" fmla="*/ 1047750 h 10839450"/>
              <a:gd name="connsiteX2" fmla="*/ 3872418 w 4710618"/>
              <a:gd name="connsiteY2" fmla="*/ 1447800 h 10839450"/>
              <a:gd name="connsiteX3" fmla="*/ 4710618 w 4710618"/>
              <a:gd name="connsiteY3" fmla="*/ 10839450 h 10839450"/>
              <a:gd name="connsiteX4" fmla="*/ 0 w 4710618"/>
              <a:gd name="connsiteY4" fmla="*/ 10839450 h 10839450"/>
              <a:gd name="connsiteX5" fmla="*/ 0 w 4710618"/>
              <a:gd name="connsiteY5" fmla="*/ 0 h 10839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10618" h="10839450">
                <a:moveTo>
                  <a:pt x="0" y="0"/>
                </a:moveTo>
                <a:lnTo>
                  <a:pt x="3434268" y="1047750"/>
                </a:lnTo>
                <a:cubicBezTo>
                  <a:pt x="3679378" y="1158240"/>
                  <a:pt x="3833048" y="1268730"/>
                  <a:pt x="3872418" y="1447800"/>
                </a:cubicBezTo>
                <a:lnTo>
                  <a:pt x="4710618" y="10839450"/>
                </a:lnTo>
                <a:lnTo>
                  <a:pt x="0" y="10839450"/>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900"/>
          </a:p>
        </p:txBody>
      </p:sp>
      <p:sp>
        <p:nvSpPr>
          <p:cNvPr id="7" name="Retângulo 3">
            <a:extLst>
              <a:ext uri="{FF2B5EF4-FFF2-40B4-BE49-F238E27FC236}">
                <a16:creationId xmlns:a16="http://schemas.microsoft.com/office/drawing/2014/main" id="{85CFD046-721C-98D5-354B-05F1F57BEECD}"/>
              </a:ext>
            </a:extLst>
          </p:cNvPr>
          <p:cNvSpPr/>
          <p:nvPr userDrawn="1"/>
        </p:nvSpPr>
        <p:spPr>
          <a:xfrm>
            <a:off x="0" y="1253067"/>
            <a:ext cx="2424360" cy="5604935"/>
          </a:xfrm>
          <a:custGeom>
            <a:avLst/>
            <a:gdLst>
              <a:gd name="connsiteX0" fmla="*/ 0 w 3572933"/>
              <a:gd name="connsiteY0" fmla="*/ 0 h 11209867"/>
              <a:gd name="connsiteX1" fmla="*/ 3572933 w 3572933"/>
              <a:gd name="connsiteY1" fmla="*/ 0 h 11209867"/>
              <a:gd name="connsiteX2" fmla="*/ 3572933 w 3572933"/>
              <a:gd name="connsiteY2" fmla="*/ 11209867 h 11209867"/>
              <a:gd name="connsiteX3" fmla="*/ 0 w 3572933"/>
              <a:gd name="connsiteY3" fmla="*/ 11209867 h 11209867"/>
              <a:gd name="connsiteX4" fmla="*/ 0 w 3572933"/>
              <a:gd name="connsiteY4" fmla="*/ 0 h 11209867"/>
              <a:gd name="connsiteX0" fmla="*/ 0 w 4842933"/>
              <a:gd name="connsiteY0" fmla="*/ 0 h 11209867"/>
              <a:gd name="connsiteX1" fmla="*/ 4842933 w 4842933"/>
              <a:gd name="connsiteY1" fmla="*/ 3708400 h 11209867"/>
              <a:gd name="connsiteX2" fmla="*/ 3572933 w 4842933"/>
              <a:gd name="connsiteY2" fmla="*/ 11209867 h 11209867"/>
              <a:gd name="connsiteX3" fmla="*/ 0 w 4842933"/>
              <a:gd name="connsiteY3" fmla="*/ 11209867 h 11209867"/>
              <a:gd name="connsiteX4" fmla="*/ 0 w 4842933"/>
              <a:gd name="connsiteY4" fmla="*/ 0 h 11209867"/>
              <a:gd name="connsiteX0" fmla="*/ 0 w 4842933"/>
              <a:gd name="connsiteY0" fmla="*/ 0 h 11209867"/>
              <a:gd name="connsiteX1" fmla="*/ 4572001 w 4842933"/>
              <a:gd name="connsiteY1" fmla="*/ 3471334 h 11209867"/>
              <a:gd name="connsiteX2" fmla="*/ 4842933 w 4842933"/>
              <a:gd name="connsiteY2" fmla="*/ 3708400 h 11209867"/>
              <a:gd name="connsiteX3" fmla="*/ 3572933 w 4842933"/>
              <a:gd name="connsiteY3" fmla="*/ 11209867 h 11209867"/>
              <a:gd name="connsiteX4" fmla="*/ 0 w 4842933"/>
              <a:gd name="connsiteY4" fmla="*/ 11209867 h 11209867"/>
              <a:gd name="connsiteX5" fmla="*/ 0 w 4842933"/>
              <a:gd name="connsiteY5" fmla="*/ 0 h 11209867"/>
              <a:gd name="connsiteX0" fmla="*/ 0 w 4842933"/>
              <a:gd name="connsiteY0" fmla="*/ 0 h 11209867"/>
              <a:gd name="connsiteX1" fmla="*/ 4588935 w 4842933"/>
              <a:gd name="connsiteY1" fmla="*/ 3183467 h 11209867"/>
              <a:gd name="connsiteX2" fmla="*/ 4842933 w 4842933"/>
              <a:gd name="connsiteY2" fmla="*/ 3708400 h 11209867"/>
              <a:gd name="connsiteX3" fmla="*/ 3572933 w 4842933"/>
              <a:gd name="connsiteY3" fmla="*/ 11209867 h 11209867"/>
              <a:gd name="connsiteX4" fmla="*/ 0 w 4842933"/>
              <a:gd name="connsiteY4" fmla="*/ 11209867 h 11209867"/>
              <a:gd name="connsiteX5" fmla="*/ 0 w 4842933"/>
              <a:gd name="connsiteY5" fmla="*/ 0 h 11209867"/>
              <a:gd name="connsiteX0" fmla="*/ 0 w 4844683"/>
              <a:gd name="connsiteY0" fmla="*/ 0 h 11209867"/>
              <a:gd name="connsiteX1" fmla="*/ 4588935 w 4844683"/>
              <a:gd name="connsiteY1" fmla="*/ 3183467 h 11209867"/>
              <a:gd name="connsiteX2" fmla="*/ 4842933 w 4844683"/>
              <a:gd name="connsiteY2" fmla="*/ 3708400 h 11209867"/>
              <a:gd name="connsiteX3" fmla="*/ 3572933 w 4844683"/>
              <a:gd name="connsiteY3" fmla="*/ 11209867 h 11209867"/>
              <a:gd name="connsiteX4" fmla="*/ 0 w 4844683"/>
              <a:gd name="connsiteY4" fmla="*/ 11209867 h 11209867"/>
              <a:gd name="connsiteX5" fmla="*/ 0 w 4844683"/>
              <a:gd name="connsiteY5" fmla="*/ 0 h 11209867"/>
              <a:gd name="connsiteX0" fmla="*/ 0 w 4846133"/>
              <a:gd name="connsiteY0" fmla="*/ 0 h 11209867"/>
              <a:gd name="connsiteX1" fmla="*/ 4588935 w 4846133"/>
              <a:gd name="connsiteY1" fmla="*/ 3183467 h 11209867"/>
              <a:gd name="connsiteX2" fmla="*/ 4842933 w 4846133"/>
              <a:gd name="connsiteY2" fmla="*/ 3708400 h 11209867"/>
              <a:gd name="connsiteX3" fmla="*/ 3572933 w 4846133"/>
              <a:gd name="connsiteY3" fmla="*/ 11209867 h 11209867"/>
              <a:gd name="connsiteX4" fmla="*/ 0 w 4846133"/>
              <a:gd name="connsiteY4" fmla="*/ 11209867 h 11209867"/>
              <a:gd name="connsiteX5" fmla="*/ 0 w 4846133"/>
              <a:gd name="connsiteY5" fmla="*/ 0 h 11209867"/>
              <a:gd name="connsiteX0" fmla="*/ 0 w 4847457"/>
              <a:gd name="connsiteY0" fmla="*/ 0 h 11209867"/>
              <a:gd name="connsiteX1" fmla="*/ 4588935 w 4847457"/>
              <a:gd name="connsiteY1" fmla="*/ 3183467 h 11209867"/>
              <a:gd name="connsiteX2" fmla="*/ 4842933 w 4847457"/>
              <a:gd name="connsiteY2" fmla="*/ 3708400 h 11209867"/>
              <a:gd name="connsiteX3" fmla="*/ 3572933 w 4847457"/>
              <a:gd name="connsiteY3" fmla="*/ 11209867 h 11209867"/>
              <a:gd name="connsiteX4" fmla="*/ 0 w 4847457"/>
              <a:gd name="connsiteY4" fmla="*/ 11209867 h 11209867"/>
              <a:gd name="connsiteX5" fmla="*/ 0 w 4847457"/>
              <a:gd name="connsiteY5" fmla="*/ 0 h 11209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47457" h="11209867">
                <a:moveTo>
                  <a:pt x="0" y="0"/>
                </a:moveTo>
                <a:lnTo>
                  <a:pt x="4588935" y="3183467"/>
                </a:lnTo>
                <a:cubicBezTo>
                  <a:pt x="4810761" y="3350825"/>
                  <a:pt x="4864947" y="3472462"/>
                  <a:pt x="4842933" y="3708400"/>
                </a:cubicBezTo>
                <a:lnTo>
                  <a:pt x="3572933" y="11209867"/>
                </a:lnTo>
                <a:lnTo>
                  <a:pt x="0" y="11209867"/>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900"/>
          </a:p>
        </p:txBody>
      </p:sp>
      <p:sp>
        <p:nvSpPr>
          <p:cNvPr id="13" name="Retângulo 4">
            <a:extLst>
              <a:ext uri="{FF2B5EF4-FFF2-40B4-BE49-F238E27FC236}">
                <a16:creationId xmlns:a16="http://schemas.microsoft.com/office/drawing/2014/main" id="{82DBDDF1-7A45-76B3-F32C-2021D8880FE0}"/>
              </a:ext>
            </a:extLst>
          </p:cNvPr>
          <p:cNvSpPr/>
          <p:nvPr userDrawn="1"/>
        </p:nvSpPr>
        <p:spPr>
          <a:xfrm>
            <a:off x="1807" y="1438276"/>
            <a:ext cx="2355923" cy="5419725"/>
          </a:xfrm>
          <a:custGeom>
            <a:avLst/>
            <a:gdLst>
              <a:gd name="connsiteX0" fmla="*/ 0 w 4710618"/>
              <a:gd name="connsiteY0" fmla="*/ 0 h 10839450"/>
              <a:gd name="connsiteX1" fmla="*/ 4710618 w 4710618"/>
              <a:gd name="connsiteY1" fmla="*/ 0 h 10839450"/>
              <a:gd name="connsiteX2" fmla="*/ 4710618 w 4710618"/>
              <a:gd name="connsiteY2" fmla="*/ 10839450 h 10839450"/>
              <a:gd name="connsiteX3" fmla="*/ 0 w 4710618"/>
              <a:gd name="connsiteY3" fmla="*/ 10839450 h 10839450"/>
              <a:gd name="connsiteX4" fmla="*/ 0 w 4710618"/>
              <a:gd name="connsiteY4" fmla="*/ 0 h 10839450"/>
              <a:gd name="connsiteX0" fmla="*/ 0 w 4710618"/>
              <a:gd name="connsiteY0" fmla="*/ 0 h 10839450"/>
              <a:gd name="connsiteX1" fmla="*/ 3224718 w 4710618"/>
              <a:gd name="connsiteY1" fmla="*/ 1581150 h 10839450"/>
              <a:gd name="connsiteX2" fmla="*/ 4710618 w 4710618"/>
              <a:gd name="connsiteY2" fmla="*/ 10839450 h 10839450"/>
              <a:gd name="connsiteX3" fmla="*/ 0 w 4710618"/>
              <a:gd name="connsiteY3" fmla="*/ 10839450 h 10839450"/>
              <a:gd name="connsiteX4" fmla="*/ 0 w 4710618"/>
              <a:gd name="connsiteY4" fmla="*/ 0 h 10839450"/>
              <a:gd name="connsiteX0" fmla="*/ 0 w 4710618"/>
              <a:gd name="connsiteY0" fmla="*/ 0 h 10839450"/>
              <a:gd name="connsiteX1" fmla="*/ 3872418 w 4710618"/>
              <a:gd name="connsiteY1" fmla="*/ 1447800 h 10839450"/>
              <a:gd name="connsiteX2" fmla="*/ 4710618 w 4710618"/>
              <a:gd name="connsiteY2" fmla="*/ 10839450 h 10839450"/>
              <a:gd name="connsiteX3" fmla="*/ 0 w 4710618"/>
              <a:gd name="connsiteY3" fmla="*/ 10839450 h 10839450"/>
              <a:gd name="connsiteX4" fmla="*/ 0 w 4710618"/>
              <a:gd name="connsiteY4" fmla="*/ 0 h 10839450"/>
              <a:gd name="connsiteX0" fmla="*/ 0 w 4710618"/>
              <a:gd name="connsiteY0" fmla="*/ 0 h 10839450"/>
              <a:gd name="connsiteX1" fmla="*/ 3319968 w 4710618"/>
              <a:gd name="connsiteY1" fmla="*/ 1257300 h 10839450"/>
              <a:gd name="connsiteX2" fmla="*/ 3872418 w 4710618"/>
              <a:gd name="connsiteY2" fmla="*/ 1447800 h 10839450"/>
              <a:gd name="connsiteX3" fmla="*/ 4710618 w 4710618"/>
              <a:gd name="connsiteY3" fmla="*/ 10839450 h 10839450"/>
              <a:gd name="connsiteX4" fmla="*/ 0 w 4710618"/>
              <a:gd name="connsiteY4" fmla="*/ 10839450 h 10839450"/>
              <a:gd name="connsiteX5" fmla="*/ 0 w 4710618"/>
              <a:gd name="connsiteY5" fmla="*/ 0 h 10839450"/>
              <a:gd name="connsiteX0" fmla="*/ 0 w 4710618"/>
              <a:gd name="connsiteY0" fmla="*/ 0 h 10839450"/>
              <a:gd name="connsiteX1" fmla="*/ 3434268 w 4710618"/>
              <a:gd name="connsiteY1" fmla="*/ 1047750 h 10839450"/>
              <a:gd name="connsiteX2" fmla="*/ 3872418 w 4710618"/>
              <a:gd name="connsiteY2" fmla="*/ 1447800 h 10839450"/>
              <a:gd name="connsiteX3" fmla="*/ 4710618 w 4710618"/>
              <a:gd name="connsiteY3" fmla="*/ 10839450 h 10839450"/>
              <a:gd name="connsiteX4" fmla="*/ 0 w 4710618"/>
              <a:gd name="connsiteY4" fmla="*/ 10839450 h 10839450"/>
              <a:gd name="connsiteX5" fmla="*/ 0 w 4710618"/>
              <a:gd name="connsiteY5" fmla="*/ 0 h 10839450"/>
              <a:gd name="connsiteX0" fmla="*/ 0 w 4710618"/>
              <a:gd name="connsiteY0" fmla="*/ 0 h 10839450"/>
              <a:gd name="connsiteX1" fmla="*/ 3434268 w 4710618"/>
              <a:gd name="connsiteY1" fmla="*/ 1047750 h 10839450"/>
              <a:gd name="connsiteX2" fmla="*/ 3872418 w 4710618"/>
              <a:gd name="connsiteY2" fmla="*/ 1447800 h 10839450"/>
              <a:gd name="connsiteX3" fmla="*/ 4710618 w 4710618"/>
              <a:gd name="connsiteY3" fmla="*/ 10839450 h 10839450"/>
              <a:gd name="connsiteX4" fmla="*/ 0 w 4710618"/>
              <a:gd name="connsiteY4" fmla="*/ 10839450 h 10839450"/>
              <a:gd name="connsiteX5" fmla="*/ 0 w 4710618"/>
              <a:gd name="connsiteY5" fmla="*/ 0 h 10839450"/>
              <a:gd name="connsiteX0" fmla="*/ 0 w 4710618"/>
              <a:gd name="connsiteY0" fmla="*/ 0 h 10839450"/>
              <a:gd name="connsiteX1" fmla="*/ 3434268 w 4710618"/>
              <a:gd name="connsiteY1" fmla="*/ 1047750 h 10839450"/>
              <a:gd name="connsiteX2" fmla="*/ 3872418 w 4710618"/>
              <a:gd name="connsiteY2" fmla="*/ 1447800 h 10839450"/>
              <a:gd name="connsiteX3" fmla="*/ 4710618 w 4710618"/>
              <a:gd name="connsiteY3" fmla="*/ 10839450 h 10839450"/>
              <a:gd name="connsiteX4" fmla="*/ 0 w 4710618"/>
              <a:gd name="connsiteY4" fmla="*/ 10839450 h 10839450"/>
              <a:gd name="connsiteX5" fmla="*/ 0 w 4710618"/>
              <a:gd name="connsiteY5" fmla="*/ 0 h 10839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10618" h="10839450">
                <a:moveTo>
                  <a:pt x="0" y="0"/>
                </a:moveTo>
                <a:lnTo>
                  <a:pt x="3434268" y="1047750"/>
                </a:lnTo>
                <a:cubicBezTo>
                  <a:pt x="3679378" y="1158240"/>
                  <a:pt x="3833048" y="1268730"/>
                  <a:pt x="3872418" y="1447800"/>
                </a:cubicBezTo>
                <a:lnTo>
                  <a:pt x="4710618" y="10839450"/>
                </a:lnTo>
                <a:lnTo>
                  <a:pt x="0" y="10839450"/>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900"/>
          </a:p>
        </p:txBody>
      </p:sp>
      <p:sp>
        <p:nvSpPr>
          <p:cNvPr id="14" name="Retângulo 3">
            <a:extLst>
              <a:ext uri="{FF2B5EF4-FFF2-40B4-BE49-F238E27FC236}">
                <a16:creationId xmlns:a16="http://schemas.microsoft.com/office/drawing/2014/main" id="{1D0FFD0C-A5F9-1A80-7204-F52FC7C62554}"/>
              </a:ext>
            </a:extLst>
          </p:cNvPr>
          <p:cNvSpPr/>
          <p:nvPr userDrawn="1"/>
        </p:nvSpPr>
        <p:spPr>
          <a:xfrm>
            <a:off x="0" y="1253067"/>
            <a:ext cx="2424360" cy="5604935"/>
          </a:xfrm>
          <a:custGeom>
            <a:avLst/>
            <a:gdLst>
              <a:gd name="connsiteX0" fmla="*/ 0 w 3572933"/>
              <a:gd name="connsiteY0" fmla="*/ 0 h 11209867"/>
              <a:gd name="connsiteX1" fmla="*/ 3572933 w 3572933"/>
              <a:gd name="connsiteY1" fmla="*/ 0 h 11209867"/>
              <a:gd name="connsiteX2" fmla="*/ 3572933 w 3572933"/>
              <a:gd name="connsiteY2" fmla="*/ 11209867 h 11209867"/>
              <a:gd name="connsiteX3" fmla="*/ 0 w 3572933"/>
              <a:gd name="connsiteY3" fmla="*/ 11209867 h 11209867"/>
              <a:gd name="connsiteX4" fmla="*/ 0 w 3572933"/>
              <a:gd name="connsiteY4" fmla="*/ 0 h 11209867"/>
              <a:gd name="connsiteX0" fmla="*/ 0 w 4842933"/>
              <a:gd name="connsiteY0" fmla="*/ 0 h 11209867"/>
              <a:gd name="connsiteX1" fmla="*/ 4842933 w 4842933"/>
              <a:gd name="connsiteY1" fmla="*/ 3708400 h 11209867"/>
              <a:gd name="connsiteX2" fmla="*/ 3572933 w 4842933"/>
              <a:gd name="connsiteY2" fmla="*/ 11209867 h 11209867"/>
              <a:gd name="connsiteX3" fmla="*/ 0 w 4842933"/>
              <a:gd name="connsiteY3" fmla="*/ 11209867 h 11209867"/>
              <a:gd name="connsiteX4" fmla="*/ 0 w 4842933"/>
              <a:gd name="connsiteY4" fmla="*/ 0 h 11209867"/>
              <a:gd name="connsiteX0" fmla="*/ 0 w 4842933"/>
              <a:gd name="connsiteY0" fmla="*/ 0 h 11209867"/>
              <a:gd name="connsiteX1" fmla="*/ 4572001 w 4842933"/>
              <a:gd name="connsiteY1" fmla="*/ 3471334 h 11209867"/>
              <a:gd name="connsiteX2" fmla="*/ 4842933 w 4842933"/>
              <a:gd name="connsiteY2" fmla="*/ 3708400 h 11209867"/>
              <a:gd name="connsiteX3" fmla="*/ 3572933 w 4842933"/>
              <a:gd name="connsiteY3" fmla="*/ 11209867 h 11209867"/>
              <a:gd name="connsiteX4" fmla="*/ 0 w 4842933"/>
              <a:gd name="connsiteY4" fmla="*/ 11209867 h 11209867"/>
              <a:gd name="connsiteX5" fmla="*/ 0 w 4842933"/>
              <a:gd name="connsiteY5" fmla="*/ 0 h 11209867"/>
              <a:gd name="connsiteX0" fmla="*/ 0 w 4842933"/>
              <a:gd name="connsiteY0" fmla="*/ 0 h 11209867"/>
              <a:gd name="connsiteX1" fmla="*/ 4588935 w 4842933"/>
              <a:gd name="connsiteY1" fmla="*/ 3183467 h 11209867"/>
              <a:gd name="connsiteX2" fmla="*/ 4842933 w 4842933"/>
              <a:gd name="connsiteY2" fmla="*/ 3708400 h 11209867"/>
              <a:gd name="connsiteX3" fmla="*/ 3572933 w 4842933"/>
              <a:gd name="connsiteY3" fmla="*/ 11209867 h 11209867"/>
              <a:gd name="connsiteX4" fmla="*/ 0 w 4842933"/>
              <a:gd name="connsiteY4" fmla="*/ 11209867 h 11209867"/>
              <a:gd name="connsiteX5" fmla="*/ 0 w 4842933"/>
              <a:gd name="connsiteY5" fmla="*/ 0 h 11209867"/>
              <a:gd name="connsiteX0" fmla="*/ 0 w 4844683"/>
              <a:gd name="connsiteY0" fmla="*/ 0 h 11209867"/>
              <a:gd name="connsiteX1" fmla="*/ 4588935 w 4844683"/>
              <a:gd name="connsiteY1" fmla="*/ 3183467 h 11209867"/>
              <a:gd name="connsiteX2" fmla="*/ 4842933 w 4844683"/>
              <a:gd name="connsiteY2" fmla="*/ 3708400 h 11209867"/>
              <a:gd name="connsiteX3" fmla="*/ 3572933 w 4844683"/>
              <a:gd name="connsiteY3" fmla="*/ 11209867 h 11209867"/>
              <a:gd name="connsiteX4" fmla="*/ 0 w 4844683"/>
              <a:gd name="connsiteY4" fmla="*/ 11209867 h 11209867"/>
              <a:gd name="connsiteX5" fmla="*/ 0 w 4844683"/>
              <a:gd name="connsiteY5" fmla="*/ 0 h 11209867"/>
              <a:gd name="connsiteX0" fmla="*/ 0 w 4846133"/>
              <a:gd name="connsiteY0" fmla="*/ 0 h 11209867"/>
              <a:gd name="connsiteX1" fmla="*/ 4588935 w 4846133"/>
              <a:gd name="connsiteY1" fmla="*/ 3183467 h 11209867"/>
              <a:gd name="connsiteX2" fmla="*/ 4842933 w 4846133"/>
              <a:gd name="connsiteY2" fmla="*/ 3708400 h 11209867"/>
              <a:gd name="connsiteX3" fmla="*/ 3572933 w 4846133"/>
              <a:gd name="connsiteY3" fmla="*/ 11209867 h 11209867"/>
              <a:gd name="connsiteX4" fmla="*/ 0 w 4846133"/>
              <a:gd name="connsiteY4" fmla="*/ 11209867 h 11209867"/>
              <a:gd name="connsiteX5" fmla="*/ 0 w 4846133"/>
              <a:gd name="connsiteY5" fmla="*/ 0 h 11209867"/>
              <a:gd name="connsiteX0" fmla="*/ 0 w 4847457"/>
              <a:gd name="connsiteY0" fmla="*/ 0 h 11209867"/>
              <a:gd name="connsiteX1" fmla="*/ 4588935 w 4847457"/>
              <a:gd name="connsiteY1" fmla="*/ 3183467 h 11209867"/>
              <a:gd name="connsiteX2" fmla="*/ 4842933 w 4847457"/>
              <a:gd name="connsiteY2" fmla="*/ 3708400 h 11209867"/>
              <a:gd name="connsiteX3" fmla="*/ 3572933 w 4847457"/>
              <a:gd name="connsiteY3" fmla="*/ 11209867 h 11209867"/>
              <a:gd name="connsiteX4" fmla="*/ 0 w 4847457"/>
              <a:gd name="connsiteY4" fmla="*/ 11209867 h 11209867"/>
              <a:gd name="connsiteX5" fmla="*/ 0 w 4847457"/>
              <a:gd name="connsiteY5" fmla="*/ 0 h 11209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47457" h="11209867">
                <a:moveTo>
                  <a:pt x="0" y="0"/>
                </a:moveTo>
                <a:lnTo>
                  <a:pt x="4588935" y="3183467"/>
                </a:lnTo>
                <a:cubicBezTo>
                  <a:pt x="4810761" y="3350825"/>
                  <a:pt x="4864947" y="3472462"/>
                  <a:pt x="4842933" y="3708400"/>
                </a:cubicBezTo>
                <a:lnTo>
                  <a:pt x="3572933" y="11209867"/>
                </a:lnTo>
                <a:lnTo>
                  <a:pt x="0" y="11209867"/>
                </a:lnTo>
                <a:lnTo>
                  <a:pt x="0" y="0"/>
                </a:lnTo>
                <a:close/>
              </a:path>
            </a:pathLst>
          </a:custGeom>
          <a:solidFill>
            <a:srgbClr val="0076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900"/>
          </a:p>
        </p:txBody>
      </p:sp>
      <p:sp>
        <p:nvSpPr>
          <p:cNvPr id="15" name="CaixaDeTexto 14">
            <a:extLst>
              <a:ext uri="{FF2B5EF4-FFF2-40B4-BE49-F238E27FC236}">
                <a16:creationId xmlns:a16="http://schemas.microsoft.com/office/drawing/2014/main" id="{D77F8EAE-34E8-D6C4-8BBE-ECBB023F967B}"/>
              </a:ext>
            </a:extLst>
          </p:cNvPr>
          <p:cNvSpPr txBox="1"/>
          <p:nvPr userDrawn="1"/>
        </p:nvSpPr>
        <p:spPr>
          <a:xfrm>
            <a:off x="655522" y="3641503"/>
            <a:ext cx="1484621" cy="420756"/>
          </a:xfrm>
          <a:prstGeom prst="rect">
            <a:avLst/>
          </a:prstGeom>
          <a:noFill/>
        </p:spPr>
        <p:txBody>
          <a:bodyPr wrap="square" rtlCol="0">
            <a:spAutoFit/>
          </a:bodyPr>
          <a:lstStyle/>
          <a:p>
            <a:r>
              <a:rPr lang="pt-BR" sz="1067">
                <a:solidFill>
                  <a:schemeClr val="bg1"/>
                </a:solidFill>
                <a:latin typeface="Trebuchet MS" panose="020B0603020202020204" pitchFamily="34" charset="0"/>
              </a:rPr>
              <a:t>Oleoduto de Petróleo</a:t>
            </a:r>
          </a:p>
        </p:txBody>
      </p:sp>
      <p:sp>
        <p:nvSpPr>
          <p:cNvPr id="17" name="CaixaDeTexto 16">
            <a:extLst>
              <a:ext uri="{FF2B5EF4-FFF2-40B4-BE49-F238E27FC236}">
                <a16:creationId xmlns:a16="http://schemas.microsoft.com/office/drawing/2014/main" id="{1EA95AE3-FE46-9945-F843-1087A9FB5637}"/>
              </a:ext>
            </a:extLst>
          </p:cNvPr>
          <p:cNvSpPr txBox="1"/>
          <p:nvPr userDrawn="1"/>
        </p:nvSpPr>
        <p:spPr>
          <a:xfrm>
            <a:off x="655522" y="4005855"/>
            <a:ext cx="1515567" cy="420756"/>
          </a:xfrm>
          <a:prstGeom prst="rect">
            <a:avLst/>
          </a:prstGeom>
          <a:noFill/>
        </p:spPr>
        <p:txBody>
          <a:bodyPr wrap="square" rtlCol="0">
            <a:spAutoFit/>
          </a:bodyPr>
          <a:lstStyle/>
          <a:p>
            <a:r>
              <a:rPr lang="pt-BR" sz="1067">
                <a:solidFill>
                  <a:schemeClr val="bg1"/>
                </a:solidFill>
                <a:latin typeface="Trebuchet MS" panose="020B0603020202020204" pitchFamily="34" charset="0"/>
              </a:rPr>
              <a:t>Oleoduto de Derivados</a:t>
            </a:r>
          </a:p>
        </p:txBody>
      </p:sp>
      <p:pic>
        <p:nvPicPr>
          <p:cNvPr id="18" name="Imagem 17">
            <a:extLst>
              <a:ext uri="{FF2B5EF4-FFF2-40B4-BE49-F238E27FC236}">
                <a16:creationId xmlns:a16="http://schemas.microsoft.com/office/drawing/2014/main" id="{6CA58D78-4A26-A9C0-9B95-8FFBFD15B4B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85627" y="3601732"/>
            <a:ext cx="469895" cy="289827"/>
          </a:xfrm>
          <a:prstGeom prst="rect">
            <a:avLst/>
          </a:prstGeom>
        </p:spPr>
      </p:pic>
      <p:pic>
        <p:nvPicPr>
          <p:cNvPr id="19" name="Imagem 18">
            <a:extLst>
              <a:ext uri="{FF2B5EF4-FFF2-40B4-BE49-F238E27FC236}">
                <a16:creationId xmlns:a16="http://schemas.microsoft.com/office/drawing/2014/main" id="{0EB18F49-5C60-6FD9-4706-D9C3E1BAC83C}"/>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75467" y="3979910"/>
            <a:ext cx="480055" cy="281863"/>
          </a:xfrm>
          <a:prstGeom prst="rect">
            <a:avLst/>
          </a:prstGeom>
        </p:spPr>
      </p:pic>
      <p:sp>
        <p:nvSpPr>
          <p:cNvPr id="21" name="CaixaDeTexto 20">
            <a:extLst>
              <a:ext uri="{FF2B5EF4-FFF2-40B4-BE49-F238E27FC236}">
                <a16:creationId xmlns:a16="http://schemas.microsoft.com/office/drawing/2014/main" id="{B2ECEF0A-DB7D-68CC-F072-306B64500B1D}"/>
              </a:ext>
            </a:extLst>
          </p:cNvPr>
          <p:cNvSpPr txBox="1"/>
          <p:nvPr userDrawn="1"/>
        </p:nvSpPr>
        <p:spPr>
          <a:xfrm>
            <a:off x="143340" y="2176610"/>
            <a:ext cx="2112235" cy="666977"/>
          </a:xfrm>
          <a:prstGeom prst="rect">
            <a:avLst/>
          </a:prstGeom>
          <a:noFill/>
        </p:spPr>
        <p:txBody>
          <a:bodyPr wrap="square" rtlCol="0">
            <a:spAutoFit/>
          </a:bodyPr>
          <a:lstStyle/>
          <a:p>
            <a:r>
              <a:rPr lang="pt-BR" sz="1867" i="1">
                <a:solidFill>
                  <a:schemeClr val="bg1"/>
                </a:solidFill>
                <a:latin typeface="Trebuchet MS" panose="020B0603020202020204" pitchFamily="34" charset="0"/>
              </a:rPr>
              <a:t>Malha </a:t>
            </a:r>
          </a:p>
          <a:p>
            <a:r>
              <a:rPr lang="pt-BR" sz="1867" i="1">
                <a:solidFill>
                  <a:schemeClr val="bg1"/>
                </a:solidFill>
                <a:latin typeface="Trebuchet MS" panose="020B0603020202020204" pitchFamily="34" charset="0"/>
              </a:rPr>
              <a:t>Logística</a:t>
            </a:r>
          </a:p>
        </p:txBody>
      </p:sp>
      <p:pic>
        <p:nvPicPr>
          <p:cNvPr id="22" name="Imagem 21">
            <a:extLst>
              <a:ext uri="{FF2B5EF4-FFF2-40B4-BE49-F238E27FC236}">
                <a16:creationId xmlns:a16="http://schemas.microsoft.com/office/drawing/2014/main" id="{3C71333D-F1EE-4EDB-1216-FE96F201149E}"/>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16557" y="4582376"/>
            <a:ext cx="527307" cy="553267"/>
          </a:xfrm>
          <a:prstGeom prst="rect">
            <a:avLst/>
          </a:prstGeom>
        </p:spPr>
      </p:pic>
      <p:pic>
        <p:nvPicPr>
          <p:cNvPr id="23" name="Imagem 22">
            <a:extLst>
              <a:ext uri="{FF2B5EF4-FFF2-40B4-BE49-F238E27FC236}">
                <a16:creationId xmlns:a16="http://schemas.microsoft.com/office/drawing/2014/main" id="{183EB506-415B-68EA-2B46-3B05454BA75E}"/>
              </a:ext>
            </a:extLst>
          </p:cNvPr>
          <p:cNvPicPr/>
          <p:nvPr userDrawn="1"/>
        </p:nvPicPr>
        <p:blipFill>
          <a:blip r:embed="rId6" cstate="print">
            <a:extLst>
              <a:ext uri="{28A0092B-C50C-407E-A947-70E740481C1C}">
                <a14:useLocalDpi xmlns:a14="http://schemas.microsoft.com/office/drawing/2010/main" val="0"/>
              </a:ext>
            </a:extLst>
          </a:blip>
          <a:stretch>
            <a:fillRect/>
          </a:stretch>
        </p:blipFill>
        <p:spPr>
          <a:xfrm>
            <a:off x="151601" y="5129489"/>
            <a:ext cx="475459" cy="500063"/>
          </a:xfrm>
          <a:prstGeom prst="ellipse">
            <a:avLst/>
          </a:prstGeom>
        </p:spPr>
      </p:pic>
      <p:sp>
        <p:nvSpPr>
          <p:cNvPr id="30" name="CaixaDeTexto 29">
            <a:extLst>
              <a:ext uri="{FF2B5EF4-FFF2-40B4-BE49-F238E27FC236}">
                <a16:creationId xmlns:a16="http://schemas.microsoft.com/office/drawing/2014/main" id="{D1D50474-AF23-6B26-635C-29F26D7DF4D7}"/>
              </a:ext>
            </a:extLst>
          </p:cNvPr>
          <p:cNvSpPr txBox="1"/>
          <p:nvPr userDrawn="1"/>
        </p:nvSpPr>
        <p:spPr>
          <a:xfrm>
            <a:off x="643865" y="4719480"/>
            <a:ext cx="954785" cy="256545"/>
          </a:xfrm>
          <a:prstGeom prst="rect">
            <a:avLst/>
          </a:prstGeom>
          <a:noFill/>
        </p:spPr>
        <p:txBody>
          <a:bodyPr wrap="square" rtlCol="0">
            <a:spAutoFit/>
          </a:bodyPr>
          <a:lstStyle/>
          <a:p>
            <a:r>
              <a:rPr lang="pt-BR" sz="1067">
                <a:solidFill>
                  <a:schemeClr val="bg1"/>
                </a:solidFill>
                <a:latin typeface="Trebuchet MS" panose="020B0603020202020204" pitchFamily="34" charset="0"/>
              </a:rPr>
              <a:t>Terminais</a:t>
            </a:r>
          </a:p>
        </p:txBody>
      </p:sp>
      <p:sp>
        <p:nvSpPr>
          <p:cNvPr id="31" name="CaixaDeTexto 30">
            <a:extLst>
              <a:ext uri="{FF2B5EF4-FFF2-40B4-BE49-F238E27FC236}">
                <a16:creationId xmlns:a16="http://schemas.microsoft.com/office/drawing/2014/main" id="{5BEF4279-7EE1-4F48-D1C1-853C67C9A262}"/>
              </a:ext>
            </a:extLst>
          </p:cNvPr>
          <p:cNvSpPr txBox="1"/>
          <p:nvPr userDrawn="1"/>
        </p:nvSpPr>
        <p:spPr>
          <a:xfrm>
            <a:off x="666831" y="5265181"/>
            <a:ext cx="1143163" cy="256545"/>
          </a:xfrm>
          <a:prstGeom prst="rect">
            <a:avLst/>
          </a:prstGeom>
          <a:noFill/>
        </p:spPr>
        <p:txBody>
          <a:bodyPr wrap="square" rtlCol="0">
            <a:spAutoFit/>
          </a:bodyPr>
          <a:lstStyle/>
          <a:p>
            <a:r>
              <a:rPr lang="pt-BR" sz="1067">
                <a:solidFill>
                  <a:schemeClr val="bg1"/>
                </a:solidFill>
                <a:latin typeface="Trebuchet MS" panose="020B0603020202020204" pitchFamily="34" charset="0"/>
              </a:rPr>
              <a:t>Refinarias</a:t>
            </a:r>
          </a:p>
        </p:txBody>
      </p:sp>
      <p:sp>
        <p:nvSpPr>
          <p:cNvPr id="44" name="CaixaDeTexto 43">
            <a:extLst>
              <a:ext uri="{FF2B5EF4-FFF2-40B4-BE49-F238E27FC236}">
                <a16:creationId xmlns:a16="http://schemas.microsoft.com/office/drawing/2014/main" id="{D38E9E25-8808-3BFF-E1B0-871C8818672E}"/>
              </a:ext>
            </a:extLst>
          </p:cNvPr>
          <p:cNvSpPr txBox="1"/>
          <p:nvPr userDrawn="1"/>
        </p:nvSpPr>
        <p:spPr>
          <a:xfrm>
            <a:off x="325853" y="259588"/>
            <a:ext cx="2727029" cy="738664"/>
          </a:xfrm>
          <a:prstGeom prst="rect">
            <a:avLst/>
          </a:prstGeom>
          <a:solidFill>
            <a:srgbClr val="FFFFFF"/>
          </a:solidFill>
        </p:spPr>
        <p:txBody>
          <a:bodyPr wrap="none" rtlCol="0">
            <a:spAutoFit/>
          </a:bodyPr>
          <a:lstStyle/>
          <a:p>
            <a:r>
              <a:rPr lang="pt-BR" sz="2400" b="1">
                <a:solidFill>
                  <a:schemeClr val="tx1"/>
                </a:solidFill>
              </a:rPr>
              <a:t>Rio Grande do Sul</a:t>
            </a:r>
          </a:p>
          <a:p>
            <a:r>
              <a:rPr lang="pt-BR" sz="1800" b="1">
                <a:solidFill>
                  <a:schemeClr val="tx1"/>
                </a:solidFill>
              </a:rPr>
              <a:t>(Rio Grande)</a:t>
            </a:r>
            <a:endParaRPr lang="pt-BR" sz="2400" b="1">
              <a:solidFill>
                <a:schemeClr val="tx1"/>
              </a:solidFill>
            </a:endParaRPr>
          </a:p>
        </p:txBody>
      </p:sp>
      <p:sp>
        <p:nvSpPr>
          <p:cNvPr id="5" name="CaixaDeTexto 4">
            <a:extLst>
              <a:ext uri="{FF2B5EF4-FFF2-40B4-BE49-F238E27FC236}">
                <a16:creationId xmlns:a16="http://schemas.microsoft.com/office/drawing/2014/main" id="{A57498A6-4BD9-D163-0573-A7EF3C4E199B}"/>
              </a:ext>
            </a:extLst>
          </p:cNvPr>
          <p:cNvSpPr txBox="1"/>
          <p:nvPr userDrawn="1"/>
        </p:nvSpPr>
        <p:spPr>
          <a:xfrm rot="2911474">
            <a:off x="4196852" y="2622712"/>
            <a:ext cx="687445" cy="184666"/>
          </a:xfrm>
          <a:prstGeom prst="rect">
            <a:avLst/>
          </a:prstGeom>
          <a:noFill/>
        </p:spPr>
        <p:txBody>
          <a:bodyPr wrap="square" rtlCol="0">
            <a:spAutoFit/>
          </a:bodyPr>
          <a:lstStyle/>
          <a:p>
            <a:r>
              <a:rPr lang="pt-BR" sz="600" b="1">
                <a:latin typeface="Trebuchet MS" panose="020B0603020202020204" pitchFamily="34" charset="0"/>
              </a:rPr>
              <a:t>ORPISA16</a:t>
            </a:r>
          </a:p>
        </p:txBody>
      </p:sp>
      <p:sp>
        <p:nvSpPr>
          <p:cNvPr id="24" name="CaixaDeTexto 23">
            <a:extLst>
              <a:ext uri="{FF2B5EF4-FFF2-40B4-BE49-F238E27FC236}">
                <a16:creationId xmlns:a16="http://schemas.microsoft.com/office/drawing/2014/main" id="{EBF1CD22-3532-1730-912F-E11CA00274CA}"/>
              </a:ext>
            </a:extLst>
          </p:cNvPr>
          <p:cNvSpPr txBox="1"/>
          <p:nvPr userDrawn="1"/>
        </p:nvSpPr>
        <p:spPr>
          <a:xfrm rot="2911474">
            <a:off x="4448044" y="2428760"/>
            <a:ext cx="687445" cy="184666"/>
          </a:xfrm>
          <a:prstGeom prst="rect">
            <a:avLst/>
          </a:prstGeom>
          <a:noFill/>
        </p:spPr>
        <p:txBody>
          <a:bodyPr wrap="square" rtlCol="0">
            <a:spAutoFit/>
          </a:bodyPr>
          <a:lstStyle/>
          <a:p>
            <a:r>
              <a:rPr lang="pt-BR" sz="600" b="1">
                <a:latin typeface="Trebuchet MS" panose="020B0603020202020204" pitchFamily="34" charset="0"/>
              </a:rPr>
              <a:t>ORPISA10</a:t>
            </a:r>
          </a:p>
        </p:txBody>
      </p:sp>
      <p:sp>
        <p:nvSpPr>
          <p:cNvPr id="25" name="CaixaDeTexto 24">
            <a:extLst>
              <a:ext uri="{FF2B5EF4-FFF2-40B4-BE49-F238E27FC236}">
                <a16:creationId xmlns:a16="http://schemas.microsoft.com/office/drawing/2014/main" id="{C76EAEC2-6F1E-0050-D175-CDB5D5F98FD5}"/>
              </a:ext>
            </a:extLst>
          </p:cNvPr>
          <p:cNvSpPr txBox="1"/>
          <p:nvPr userDrawn="1"/>
        </p:nvSpPr>
        <p:spPr>
          <a:xfrm>
            <a:off x="3254490" y="790127"/>
            <a:ext cx="1652361" cy="584775"/>
          </a:xfrm>
          <a:prstGeom prst="rect">
            <a:avLst/>
          </a:prstGeom>
          <a:noFill/>
        </p:spPr>
        <p:txBody>
          <a:bodyPr wrap="square" rtlCol="0">
            <a:spAutoFit/>
          </a:bodyPr>
          <a:lstStyle/>
          <a:p>
            <a:r>
              <a:rPr lang="pt-BR" sz="1600" b="1">
                <a:latin typeface="Trebuchet MS" panose="020B0603020202020204" pitchFamily="34" charset="0"/>
              </a:rPr>
              <a:t>RIO GRANDENSE </a:t>
            </a:r>
          </a:p>
        </p:txBody>
      </p:sp>
      <p:sp>
        <p:nvSpPr>
          <p:cNvPr id="27" name="CaixaDeTexto 26">
            <a:extLst>
              <a:ext uri="{FF2B5EF4-FFF2-40B4-BE49-F238E27FC236}">
                <a16:creationId xmlns:a16="http://schemas.microsoft.com/office/drawing/2014/main" id="{7EDD0690-A3E2-0119-F903-6342278BA9E5}"/>
              </a:ext>
            </a:extLst>
          </p:cNvPr>
          <p:cNvSpPr txBox="1"/>
          <p:nvPr userDrawn="1"/>
        </p:nvSpPr>
        <p:spPr>
          <a:xfrm>
            <a:off x="4877406" y="2237082"/>
            <a:ext cx="1652361" cy="338554"/>
          </a:xfrm>
          <a:prstGeom prst="rect">
            <a:avLst/>
          </a:prstGeom>
          <a:noFill/>
        </p:spPr>
        <p:txBody>
          <a:bodyPr wrap="square" rtlCol="0">
            <a:spAutoFit/>
          </a:bodyPr>
          <a:lstStyle/>
          <a:p>
            <a:r>
              <a:rPr lang="pt-BR" sz="1600" b="1">
                <a:latin typeface="Trebuchet MS" panose="020B0603020202020204" pitchFamily="34" charset="0"/>
              </a:rPr>
              <a:t>TERG (BSK)</a:t>
            </a:r>
          </a:p>
        </p:txBody>
      </p:sp>
      <p:sp>
        <p:nvSpPr>
          <p:cNvPr id="29" name="CaixaDeTexto 28">
            <a:extLst>
              <a:ext uri="{FF2B5EF4-FFF2-40B4-BE49-F238E27FC236}">
                <a16:creationId xmlns:a16="http://schemas.microsoft.com/office/drawing/2014/main" id="{23E4C2CB-6AD8-512C-520F-238B7B10F47A}"/>
              </a:ext>
            </a:extLst>
          </p:cNvPr>
          <p:cNvSpPr txBox="1"/>
          <p:nvPr userDrawn="1"/>
        </p:nvSpPr>
        <p:spPr>
          <a:xfrm>
            <a:off x="4547006" y="3976862"/>
            <a:ext cx="719687" cy="584775"/>
          </a:xfrm>
          <a:prstGeom prst="rect">
            <a:avLst/>
          </a:prstGeom>
          <a:noFill/>
        </p:spPr>
        <p:txBody>
          <a:bodyPr wrap="square" rtlCol="0">
            <a:spAutoFit/>
          </a:bodyPr>
          <a:lstStyle/>
          <a:p>
            <a:r>
              <a:rPr lang="pt-BR" sz="1600" b="1">
                <a:latin typeface="Trebuchet MS" panose="020B0603020202020204" pitchFamily="34" charset="0"/>
              </a:rPr>
              <a:t>TERIG</a:t>
            </a:r>
          </a:p>
        </p:txBody>
      </p:sp>
      <p:sp>
        <p:nvSpPr>
          <p:cNvPr id="45" name="CaixaDeTexto 44">
            <a:extLst>
              <a:ext uri="{FF2B5EF4-FFF2-40B4-BE49-F238E27FC236}">
                <a16:creationId xmlns:a16="http://schemas.microsoft.com/office/drawing/2014/main" id="{7727FB00-89DA-7C79-E209-8E58EE37C251}"/>
              </a:ext>
            </a:extLst>
          </p:cNvPr>
          <p:cNvSpPr txBox="1"/>
          <p:nvPr userDrawn="1"/>
        </p:nvSpPr>
        <p:spPr>
          <a:xfrm>
            <a:off x="5629539" y="685220"/>
            <a:ext cx="1652361" cy="523220"/>
          </a:xfrm>
          <a:prstGeom prst="rect">
            <a:avLst/>
          </a:prstGeom>
          <a:noFill/>
        </p:spPr>
        <p:txBody>
          <a:bodyPr wrap="square" rtlCol="0">
            <a:spAutoFit/>
          </a:bodyPr>
          <a:lstStyle/>
          <a:p>
            <a:r>
              <a:rPr lang="pt-BR" sz="1600" b="1">
                <a:latin typeface="Trebuchet MS" panose="020B0603020202020204" pitchFamily="34" charset="0"/>
              </a:rPr>
              <a:t>PORTO </a:t>
            </a:r>
          </a:p>
          <a:p>
            <a:r>
              <a:rPr lang="pt-BR" sz="1200" b="1">
                <a:latin typeface="Trebuchet MS" panose="020B0603020202020204" pitchFamily="34" charset="0"/>
              </a:rPr>
              <a:t>Rio Grande</a:t>
            </a:r>
            <a:endParaRPr lang="pt-BR" sz="1000" b="1">
              <a:latin typeface="Trebuchet MS" panose="020B0603020202020204" pitchFamily="34" charset="0"/>
            </a:endParaRPr>
          </a:p>
        </p:txBody>
      </p:sp>
    </p:spTree>
    <p:extLst>
      <p:ext uri="{BB962C8B-B14F-4D97-AF65-F5344CB8AC3E}">
        <p14:creationId xmlns:p14="http://schemas.microsoft.com/office/powerpoint/2010/main" val="3823741471"/>
      </p:ext>
    </p:extLst>
  </p:cSld>
  <p:clrMapOvr>
    <a:masterClrMapping/>
  </p:clrMapOvr>
  <p:transition spd="med">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_Slide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035722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RectImg">
    <p:spTree>
      <p:nvGrpSpPr>
        <p:cNvPr id="1" name=""/>
        <p:cNvGrpSpPr/>
        <p:nvPr/>
      </p:nvGrpSpPr>
      <p:grpSpPr>
        <a:xfrm>
          <a:off x="0" y="0"/>
          <a:ext cx="0" cy="0"/>
          <a:chOff x="0" y="0"/>
          <a:chExt cx="0" cy="0"/>
        </a:xfrm>
      </p:grpSpPr>
      <p:sp>
        <p:nvSpPr>
          <p:cNvPr id="6" name="Espaço Reservado para Texto 12">
            <a:extLst>
              <a:ext uri="{FF2B5EF4-FFF2-40B4-BE49-F238E27FC236}">
                <a16:creationId xmlns:a16="http://schemas.microsoft.com/office/drawing/2014/main" id="{F4BC1037-E04D-4F72-B21E-A0B11DFF092B}"/>
              </a:ext>
            </a:extLst>
          </p:cNvPr>
          <p:cNvSpPr>
            <a:spLocks noGrp="1"/>
          </p:cNvSpPr>
          <p:nvPr>
            <p:ph type="body" sz="quarter" idx="16"/>
          </p:nvPr>
        </p:nvSpPr>
        <p:spPr>
          <a:xfrm>
            <a:off x="285826" y="495181"/>
            <a:ext cx="5548004" cy="360040"/>
          </a:xfrm>
          <a:prstGeom prst="rect">
            <a:avLst/>
          </a:prstGeom>
        </p:spPr>
        <p:txBody>
          <a:bodyPr>
            <a:noAutofit/>
          </a:bodyPr>
          <a:lstStyle>
            <a:lvl1pPr marL="0" indent="0">
              <a:buNone/>
              <a:defRPr sz="2400" b="1" baseline="0">
                <a:solidFill>
                  <a:schemeClr val="tx1"/>
                </a:solidFill>
                <a:latin typeface="Trebuchet MS"/>
              </a:defRPr>
            </a:lvl1pPr>
          </a:lstStyle>
          <a:p>
            <a:pPr lvl="0"/>
            <a:endParaRPr lang="pt-BR"/>
          </a:p>
        </p:txBody>
      </p:sp>
    </p:spTree>
    <p:extLst>
      <p:ext uri="{BB962C8B-B14F-4D97-AF65-F5344CB8AC3E}">
        <p14:creationId xmlns:p14="http://schemas.microsoft.com/office/powerpoint/2010/main" val="663081630"/>
      </p:ext>
    </p:extLst>
  </p:cSld>
  <p:clrMapOvr>
    <a:masterClrMapping/>
  </p:clrMapOvr>
  <mc:AlternateContent xmlns:mc="http://schemas.openxmlformats.org/markup-compatibility/2006" xmlns:p14="http://schemas.microsoft.com/office/powerpoint/2010/main">
    <mc:Choice Requires="p14">
      <p:transition spd="slow" p14:dur="2000" advClick="0" advTm="3000"/>
    </mc:Choice>
    <mc:Fallback xmlns="">
      <p:transition spd="slow" advClick="0" advTm="300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15E6308-C60F-EEF9-978B-566C00EFD559}"/>
              </a:ext>
            </a:extLst>
          </p:cNvPr>
          <p:cNvSpPr>
            <a:spLocks noGrp="1"/>
          </p:cNvSpPr>
          <p:nvPr>
            <p:ph type="title"/>
          </p:nvPr>
        </p:nvSpPr>
        <p:spPr/>
        <p:txBody>
          <a:bodyPr/>
          <a:lstStyle/>
          <a:p>
            <a:r>
              <a:rPr lang="pt-BR"/>
              <a:t>Clique para editar o título Mestre</a:t>
            </a:r>
          </a:p>
        </p:txBody>
      </p:sp>
      <p:sp>
        <p:nvSpPr>
          <p:cNvPr id="3" name="Espaço Reservado para Data 2">
            <a:extLst>
              <a:ext uri="{FF2B5EF4-FFF2-40B4-BE49-F238E27FC236}">
                <a16:creationId xmlns:a16="http://schemas.microsoft.com/office/drawing/2014/main" id="{31BE4E86-89FF-AEBF-203C-AB91BCBF8BF9}"/>
              </a:ext>
            </a:extLst>
          </p:cNvPr>
          <p:cNvSpPr>
            <a:spLocks noGrp="1"/>
          </p:cNvSpPr>
          <p:nvPr>
            <p:ph type="dt" sz="half" idx="10"/>
          </p:nvPr>
        </p:nvSpPr>
        <p:spPr/>
        <p:txBody>
          <a:bodyPr/>
          <a:lstStyle/>
          <a:p>
            <a:fld id="{469AC970-D5BA-4C8F-B1E1-CD031371C8D9}" type="datetimeFigureOut">
              <a:rPr lang="pt-BR" smtClean="0"/>
              <a:t>11/05/2026</a:t>
            </a:fld>
            <a:endParaRPr lang="pt-BR"/>
          </a:p>
        </p:txBody>
      </p:sp>
      <p:sp>
        <p:nvSpPr>
          <p:cNvPr id="4" name="Espaço Reservado para Rodapé 3">
            <a:extLst>
              <a:ext uri="{FF2B5EF4-FFF2-40B4-BE49-F238E27FC236}">
                <a16:creationId xmlns:a16="http://schemas.microsoft.com/office/drawing/2014/main" id="{CE4E4BBB-D885-7424-CFD5-8A966A8DF809}"/>
              </a:ext>
            </a:extLst>
          </p:cNvPr>
          <p:cNvSpPr>
            <a:spLocks noGrp="1"/>
          </p:cNvSpPr>
          <p:nvPr>
            <p:ph type="ftr" sz="quarter" idx="11"/>
          </p:nvPr>
        </p:nvSpPr>
        <p:spPr/>
        <p:txBody>
          <a:bodyPr/>
          <a:lstStyle/>
          <a:p>
            <a:endParaRPr lang="pt-BR"/>
          </a:p>
        </p:txBody>
      </p:sp>
      <p:sp>
        <p:nvSpPr>
          <p:cNvPr id="5" name="Espaço Reservado para Número de Slide 4">
            <a:extLst>
              <a:ext uri="{FF2B5EF4-FFF2-40B4-BE49-F238E27FC236}">
                <a16:creationId xmlns:a16="http://schemas.microsoft.com/office/drawing/2014/main" id="{F5CEEC04-E512-F76A-6FAC-A8C6E22E84D3}"/>
              </a:ext>
            </a:extLst>
          </p:cNvPr>
          <p:cNvSpPr>
            <a:spLocks noGrp="1"/>
          </p:cNvSpPr>
          <p:nvPr>
            <p:ph type="sldNum" sz="quarter" idx="12"/>
          </p:nvPr>
        </p:nvSpPr>
        <p:spPr/>
        <p:txBody>
          <a:bodyPr/>
          <a:lstStyle/>
          <a:p>
            <a:fld id="{C2DC0A5C-548C-4DDD-B0B9-C90FCFE2B2B1}" type="slidenum">
              <a:rPr lang="pt-BR" smtClean="0"/>
              <a:t>‹nº›</a:t>
            </a:fld>
            <a:endParaRPr lang="pt-BR"/>
          </a:p>
        </p:txBody>
      </p:sp>
    </p:spTree>
    <p:extLst>
      <p:ext uri="{BB962C8B-B14F-4D97-AF65-F5344CB8AC3E}">
        <p14:creationId xmlns:p14="http://schemas.microsoft.com/office/powerpoint/2010/main" val="205122372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73203711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cSld name="1_título">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1"/>
            </p:custDataLst>
          </p:nvPr>
        </p:nvGraphicFramePr>
        <p:xfrm>
          <a:off x="1799" y="1601"/>
          <a:ext cx="1791" cy="1587"/>
        </p:xfrm>
        <a:graphic>
          <a:graphicData uri="http://schemas.openxmlformats.org/presentationml/2006/ole">
            <mc:AlternateContent xmlns:mc="http://schemas.openxmlformats.org/markup-compatibility/2006">
              <mc:Choice xmlns:v="urn:schemas-microsoft-com:vml" Requires="v">
                <p:oleObj name="Slide do think-cell" r:id="rId3" imgW="270" imgH="270" progId="TCLayout.ActiveDocument.1">
                  <p:embed/>
                </p:oleObj>
              </mc:Choice>
              <mc:Fallback>
                <p:oleObj name="Slide do think-cell" r:id="rId3" imgW="270" imgH="270" progId="TCLayout.ActiveDocument.1">
                  <p:embed/>
                  <p:pic>
                    <p:nvPicPr>
                      <p:cNvPr id="2" name="Objeto 1" hidden="1"/>
                      <p:cNvPicPr/>
                      <p:nvPr/>
                    </p:nvPicPr>
                    <p:blipFill>
                      <a:blip r:embed="rId4"/>
                      <a:stretch>
                        <a:fillRect/>
                      </a:stretch>
                    </p:blipFill>
                    <p:spPr>
                      <a:xfrm>
                        <a:off x="1799" y="1601"/>
                        <a:ext cx="1791" cy="1587"/>
                      </a:xfrm>
                      <a:prstGeom prst="rect">
                        <a:avLst/>
                      </a:prstGeom>
                    </p:spPr>
                  </p:pic>
                </p:oleObj>
              </mc:Fallback>
            </mc:AlternateContent>
          </a:graphicData>
        </a:graphic>
      </p:graphicFrame>
      <p:pic>
        <p:nvPicPr>
          <p:cNvPr id="5" name="Imagem 4">
            <a:extLst>
              <a:ext uri="{FF2B5EF4-FFF2-40B4-BE49-F238E27FC236}">
                <a16:creationId xmlns:a16="http://schemas.microsoft.com/office/drawing/2014/main" id="{672B830F-F55D-3B53-DE93-5907CD39F5A8}"/>
              </a:ext>
            </a:extLst>
          </p:cNvPr>
          <p:cNvPicPr>
            <a:picLocks noChangeAspect="1"/>
          </p:cNvPicPr>
          <p:nvPr userDrawn="1"/>
        </p:nvPicPr>
        <p:blipFill>
          <a:blip r:embed="rId5">
            <a:extLst>
              <a:ext uri="{28A0092B-C50C-407E-A947-70E740481C1C}">
                <a14:useLocalDpi xmlns:a14="http://schemas.microsoft.com/office/drawing/2010/main"/>
              </a:ext>
            </a:extLst>
          </a:blip>
          <a:srcRect/>
          <a:stretch/>
        </p:blipFill>
        <p:spPr>
          <a:xfrm>
            <a:off x="9746866" y="5562600"/>
            <a:ext cx="2445135" cy="1295400"/>
          </a:xfrm>
          <a:prstGeom prst="rect">
            <a:avLst/>
          </a:prstGeom>
        </p:spPr>
      </p:pic>
    </p:spTree>
    <p:extLst>
      <p:ext uri="{BB962C8B-B14F-4D97-AF65-F5344CB8AC3E}">
        <p14:creationId xmlns:p14="http://schemas.microsoft.com/office/powerpoint/2010/main" val="3072930325"/>
      </p:ext>
    </p:extLst>
  </p:cSld>
  <p:clrMapOvr>
    <a:masterClrMapping/>
  </p:clrMapOvr>
  <p:transition spd="slow">
    <p:wipe dir="r"/>
  </p:transition>
  <p:extLst>
    <p:ext uri="{DCECCB84-F9BA-43D5-87BE-67443E8EF086}">
      <p15:sldGuideLst xmlns:p15="http://schemas.microsoft.com/office/powerpoint/2012/main">
        <p15:guide id="1" pos="120">
          <p15:clr>
            <a:srgbClr val="CCCCCC"/>
          </p15:clr>
        </p15:guide>
        <p15:guide id="2" pos="5960">
          <p15:clr>
            <a:srgbClr val="CCCCCC"/>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591115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6_Layout Personalizado">
    <p:spTree>
      <p:nvGrpSpPr>
        <p:cNvPr id="1" name=""/>
        <p:cNvGrpSpPr/>
        <p:nvPr/>
      </p:nvGrpSpPr>
      <p:grpSpPr>
        <a:xfrm>
          <a:off x="0" y="0"/>
          <a:ext cx="0" cy="0"/>
          <a:chOff x="0" y="0"/>
          <a:chExt cx="0" cy="0"/>
        </a:xfrm>
      </p:grpSpPr>
      <p:sp>
        <p:nvSpPr>
          <p:cNvPr id="2" name="Título 1"/>
          <p:cNvSpPr>
            <a:spLocks noGrp="1"/>
          </p:cNvSpPr>
          <p:nvPr>
            <p:ph type="title"/>
          </p:nvPr>
        </p:nvSpPr>
        <p:spPr>
          <a:xfrm>
            <a:off x="431371" y="44624"/>
            <a:ext cx="10972800" cy="1143000"/>
          </a:xfrm>
        </p:spPr>
        <p:txBody>
          <a:bodyPr>
            <a:normAutofit/>
          </a:bodyPr>
          <a:lstStyle>
            <a:lvl1pPr algn="l">
              <a:defRPr sz="3600"/>
            </a:lvl1pPr>
          </a:lstStyle>
          <a:p>
            <a:r>
              <a:rPr lang="pt-BR" dirty="0"/>
              <a:t>Clique para editar o título mestre</a:t>
            </a:r>
          </a:p>
        </p:txBody>
      </p:sp>
      <p:sp>
        <p:nvSpPr>
          <p:cNvPr id="4" name="Retângulo 3"/>
          <p:cNvSpPr/>
          <p:nvPr userDrawn="1"/>
        </p:nvSpPr>
        <p:spPr>
          <a:xfrm>
            <a:off x="7967393" y="5412922"/>
            <a:ext cx="4223657" cy="142875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800">
              <a:ln>
                <a:solidFill>
                  <a:schemeClr val="bg1"/>
                </a:solidFill>
              </a:ln>
              <a:solidFill>
                <a:schemeClr val="bg1"/>
              </a:solidFill>
            </a:endParaRPr>
          </a:p>
        </p:txBody>
      </p:sp>
      <p:pic>
        <p:nvPicPr>
          <p:cNvPr id="6" name="Imagem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4" y="0"/>
            <a:ext cx="12190095" cy="6858000"/>
          </a:xfrm>
          <a:prstGeom prst="rect">
            <a:avLst/>
          </a:prstGeom>
        </p:spPr>
      </p:pic>
      <p:pic>
        <p:nvPicPr>
          <p:cNvPr id="5" name="Imagem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782431" y="6251586"/>
            <a:ext cx="1992036" cy="590087"/>
          </a:xfrm>
          <a:prstGeom prst="rect">
            <a:avLst/>
          </a:prstGeom>
        </p:spPr>
      </p:pic>
    </p:spTree>
    <p:extLst>
      <p:ext uri="{BB962C8B-B14F-4D97-AF65-F5344CB8AC3E}">
        <p14:creationId xmlns:p14="http://schemas.microsoft.com/office/powerpoint/2010/main" val="46333634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a:t>Click to edit Master title style</a:t>
            </a:r>
            <a:endParaRPr lang="pt-BR"/>
          </a:p>
        </p:txBody>
      </p:sp>
      <p:sp>
        <p:nvSpPr>
          <p:cNvPr id="3" name="Content Placeholder 2"/>
          <p:cNvSpPr>
            <a:spLocks noGrp="1"/>
          </p:cNvSpPr>
          <p:nvPr>
            <p:ph idx="1"/>
          </p:nvPr>
        </p:nvSpPr>
        <p:spPr/>
        <p:txBody>
          <a:body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pt-BR"/>
          </a:p>
        </p:txBody>
      </p:sp>
      <p:sp>
        <p:nvSpPr>
          <p:cNvPr id="4" name="Date Placeholder 3"/>
          <p:cNvSpPr>
            <a:spLocks noGrp="1"/>
          </p:cNvSpPr>
          <p:nvPr>
            <p:ph type="dt" sz="half" idx="10"/>
          </p:nvPr>
        </p:nvSpPr>
        <p:spPr>
          <a:xfrm>
            <a:off x="914400" y="6248400"/>
            <a:ext cx="2540000" cy="457200"/>
          </a:xfrm>
          <a:prstGeom prst="rect">
            <a:avLst/>
          </a:prstGeom>
        </p:spPr>
        <p:txBody>
          <a:bodyPr/>
          <a:lstStyle>
            <a:lvl1pPr>
              <a:defRPr>
                <a:latin typeface="Arial" charset="0"/>
                <a:ea typeface="+mn-ea"/>
                <a:cs typeface="+mn-cs"/>
              </a:defRPr>
            </a:lvl1pPr>
          </a:lstStyle>
          <a:p>
            <a:pPr>
              <a:defRPr/>
            </a:pPr>
            <a:endParaRPr lang="en-US"/>
          </a:p>
        </p:txBody>
      </p:sp>
      <p:sp>
        <p:nvSpPr>
          <p:cNvPr id="5" name="Footer Placeholder 4"/>
          <p:cNvSpPr>
            <a:spLocks noGrp="1"/>
          </p:cNvSpPr>
          <p:nvPr>
            <p:ph type="ftr" sz="quarter" idx="11"/>
          </p:nvPr>
        </p:nvSpPr>
        <p:spPr>
          <a:xfrm>
            <a:off x="4165600" y="6248400"/>
            <a:ext cx="3860800" cy="457200"/>
          </a:xfrm>
          <a:prstGeom prst="rect">
            <a:avLst/>
          </a:prstGeom>
        </p:spPr>
        <p:txBody>
          <a:bodyPr/>
          <a:lstStyle>
            <a:lvl1pPr>
              <a:defRPr>
                <a:latin typeface="Arial" charset="0"/>
                <a:ea typeface="+mn-ea"/>
                <a:cs typeface="+mn-cs"/>
              </a:defRPr>
            </a:lvl1pPr>
          </a:lstStyle>
          <a:p>
            <a:pPr>
              <a:defRPr/>
            </a:pPr>
            <a:endParaRPr lang="en-US"/>
          </a:p>
        </p:txBody>
      </p:sp>
      <p:sp>
        <p:nvSpPr>
          <p:cNvPr id="6" name="Slide Number Placeholder 5"/>
          <p:cNvSpPr>
            <a:spLocks noGrp="1"/>
          </p:cNvSpPr>
          <p:nvPr>
            <p:ph type="sldNum" sz="quarter" idx="12"/>
          </p:nvPr>
        </p:nvSpPr>
        <p:spPr>
          <a:xfrm>
            <a:off x="8737600" y="6248400"/>
            <a:ext cx="2540000" cy="457200"/>
          </a:xfrm>
          <a:prstGeom prst="rect">
            <a:avLst/>
          </a:prstGeom>
        </p:spPr>
        <p:txBody>
          <a:bodyPr vert="horz" wrap="square" lIns="91440" tIns="45720" rIns="91440" bIns="45720" numCol="1" anchor="t" anchorCtr="0" compatLnSpc="1">
            <a:prstTxWarp prst="textNoShape">
              <a:avLst/>
            </a:prstTxWarp>
          </a:bodyPr>
          <a:lstStyle>
            <a:lvl1pPr>
              <a:defRPr/>
            </a:lvl1pPr>
          </a:lstStyle>
          <a:p>
            <a:pPr>
              <a:defRPr/>
            </a:pPr>
            <a:fld id="{69E3C830-8079-4B57-AA37-49AF27340392}" type="slidenum">
              <a:rPr lang="en-US" altLang="pt-BR"/>
              <a:pPr>
                <a:defRPr/>
              </a:pPr>
              <a:t>‹nº›</a:t>
            </a:fld>
            <a:endParaRPr lang="en-US" altLang="pt-BR"/>
          </a:p>
        </p:txBody>
      </p:sp>
    </p:spTree>
    <p:extLst>
      <p:ext uri="{BB962C8B-B14F-4D97-AF65-F5344CB8AC3E}">
        <p14:creationId xmlns:p14="http://schemas.microsoft.com/office/powerpoint/2010/main" val="121848319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Slide Br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758454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Agenda ou Sumário 01">
    <p:spTree>
      <p:nvGrpSpPr>
        <p:cNvPr id="1" name=""/>
        <p:cNvGrpSpPr/>
        <p:nvPr/>
      </p:nvGrpSpPr>
      <p:grpSpPr>
        <a:xfrm>
          <a:off x="0" y="0"/>
          <a:ext cx="0" cy="0"/>
          <a:chOff x="0" y="0"/>
          <a:chExt cx="0" cy="0"/>
        </a:xfrm>
      </p:grpSpPr>
      <p:pic>
        <p:nvPicPr>
          <p:cNvPr id="2" name="Imagem 1">
            <a:extLst>
              <a:ext uri="{FF2B5EF4-FFF2-40B4-BE49-F238E27FC236}">
                <a16:creationId xmlns:a16="http://schemas.microsoft.com/office/drawing/2014/main" id="{BF9853F9-2EA7-AB06-B3FE-29352019E3B1}"/>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357925" y="260624"/>
            <a:ext cx="1602464" cy="464365"/>
          </a:xfrm>
          <a:prstGeom prst="rect">
            <a:avLst/>
          </a:prstGeom>
        </p:spPr>
      </p:pic>
      <p:pic>
        <p:nvPicPr>
          <p:cNvPr id="6" name="Imagem 5">
            <a:extLst>
              <a:ext uri="{FF2B5EF4-FFF2-40B4-BE49-F238E27FC236}">
                <a16:creationId xmlns:a16="http://schemas.microsoft.com/office/drawing/2014/main" id="{1DDD95F3-D154-AB75-8279-612EE88C52D6}"/>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l="9307" t="12605" r="55393" b="55053"/>
          <a:stretch/>
        </p:blipFill>
        <p:spPr>
          <a:xfrm>
            <a:off x="0" y="0"/>
            <a:ext cx="5085008" cy="2727843"/>
          </a:xfrm>
          <a:prstGeom prst="rect">
            <a:avLst/>
          </a:prstGeom>
        </p:spPr>
      </p:pic>
    </p:spTree>
    <p:extLst>
      <p:ext uri="{BB962C8B-B14F-4D97-AF65-F5344CB8AC3E}">
        <p14:creationId xmlns:p14="http://schemas.microsoft.com/office/powerpoint/2010/main" val="34919707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a:extLst>
              <a:ext uri="{FF2B5EF4-FFF2-40B4-BE49-F238E27FC236}">
                <a16:creationId xmlns:a16="http://schemas.microsoft.com/office/drawing/2014/main" id="{1A261BCE-A615-D8E1-89A9-610C8761EC57}"/>
              </a:ext>
            </a:extLst>
          </p:cNvPr>
          <p:cNvSpPr>
            <a:spLocks noGrp="1"/>
          </p:cNvSpPr>
          <p:nvPr>
            <p:ph type="dt" sz="half" idx="10"/>
          </p:nvPr>
        </p:nvSpPr>
        <p:spPr/>
        <p:txBody>
          <a:bodyPr/>
          <a:lstStyle/>
          <a:p>
            <a:fld id="{469AC970-D5BA-4C8F-B1E1-CD031371C8D9}" type="datetimeFigureOut">
              <a:rPr lang="pt-BR" smtClean="0"/>
              <a:t>11/05/2026</a:t>
            </a:fld>
            <a:endParaRPr lang="pt-BR"/>
          </a:p>
        </p:txBody>
      </p:sp>
      <p:sp>
        <p:nvSpPr>
          <p:cNvPr id="3" name="Espaço Reservado para Rodapé 2">
            <a:extLst>
              <a:ext uri="{FF2B5EF4-FFF2-40B4-BE49-F238E27FC236}">
                <a16:creationId xmlns:a16="http://schemas.microsoft.com/office/drawing/2014/main" id="{4BFFB1CF-8835-08E7-B7BC-2B1D3D8DFBA3}"/>
              </a:ext>
            </a:extLst>
          </p:cNvPr>
          <p:cNvSpPr>
            <a:spLocks noGrp="1"/>
          </p:cNvSpPr>
          <p:nvPr>
            <p:ph type="ftr" sz="quarter" idx="11"/>
          </p:nvPr>
        </p:nvSpPr>
        <p:spPr/>
        <p:txBody>
          <a:bodyPr/>
          <a:lstStyle/>
          <a:p>
            <a:endParaRPr lang="pt-BR"/>
          </a:p>
        </p:txBody>
      </p:sp>
      <p:sp>
        <p:nvSpPr>
          <p:cNvPr id="4" name="Espaço Reservado para Número de Slide 3">
            <a:extLst>
              <a:ext uri="{FF2B5EF4-FFF2-40B4-BE49-F238E27FC236}">
                <a16:creationId xmlns:a16="http://schemas.microsoft.com/office/drawing/2014/main" id="{77ED9D86-2F39-703F-FB40-541B3F4B80EE}"/>
              </a:ext>
            </a:extLst>
          </p:cNvPr>
          <p:cNvSpPr>
            <a:spLocks noGrp="1"/>
          </p:cNvSpPr>
          <p:nvPr>
            <p:ph type="sldNum" sz="quarter" idx="12"/>
          </p:nvPr>
        </p:nvSpPr>
        <p:spPr/>
        <p:txBody>
          <a:bodyPr/>
          <a:lstStyle/>
          <a:p>
            <a:fld id="{C2DC0A5C-548C-4DDD-B0B9-C90FCFE2B2B1}" type="slidenum">
              <a:rPr lang="pt-BR" smtClean="0"/>
              <a:t>‹nº›</a:t>
            </a:fld>
            <a:endParaRPr lang="pt-BR"/>
          </a:p>
        </p:txBody>
      </p:sp>
    </p:spTree>
    <p:extLst>
      <p:ext uri="{BB962C8B-B14F-4D97-AF65-F5344CB8AC3E}">
        <p14:creationId xmlns:p14="http://schemas.microsoft.com/office/powerpoint/2010/main" val="11327836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7B6A326-108E-42B4-812C-1B31A71C4E4F}"/>
              </a:ext>
            </a:extLst>
          </p:cNvPr>
          <p:cNvSpPr>
            <a:spLocks noGrp="1"/>
          </p:cNvSpPr>
          <p:nvPr>
            <p:ph type="title"/>
          </p:nvPr>
        </p:nvSpPr>
        <p:spPr>
          <a:xfrm>
            <a:off x="839788" y="457200"/>
            <a:ext cx="3932237" cy="1600200"/>
          </a:xfrm>
        </p:spPr>
        <p:txBody>
          <a:bodyPr anchor="b"/>
          <a:lstStyle>
            <a:lvl1pPr>
              <a:defRPr sz="3200"/>
            </a:lvl1pPr>
          </a:lstStyle>
          <a:p>
            <a:r>
              <a:rPr lang="pt-BR"/>
              <a:t>Clique para editar o título Mestre</a:t>
            </a:r>
          </a:p>
        </p:txBody>
      </p:sp>
      <p:sp>
        <p:nvSpPr>
          <p:cNvPr id="3" name="Espaço Reservado para Conteúdo 2">
            <a:extLst>
              <a:ext uri="{FF2B5EF4-FFF2-40B4-BE49-F238E27FC236}">
                <a16:creationId xmlns:a16="http://schemas.microsoft.com/office/drawing/2014/main" id="{9C023DCF-AEBD-FCBE-9F8E-B1C22F5E764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Texto 3">
            <a:extLst>
              <a:ext uri="{FF2B5EF4-FFF2-40B4-BE49-F238E27FC236}">
                <a16:creationId xmlns:a16="http://schemas.microsoft.com/office/drawing/2014/main" id="{AE17EF1A-8BB1-E1AD-03D2-0500FAB54FB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Clique para editar os estilos de texto Mestres</a:t>
            </a:r>
          </a:p>
        </p:txBody>
      </p:sp>
      <p:sp>
        <p:nvSpPr>
          <p:cNvPr id="5" name="Espaço Reservado para Data 4">
            <a:extLst>
              <a:ext uri="{FF2B5EF4-FFF2-40B4-BE49-F238E27FC236}">
                <a16:creationId xmlns:a16="http://schemas.microsoft.com/office/drawing/2014/main" id="{1D933943-A97B-6C74-96E8-75E876FE9295}"/>
              </a:ext>
            </a:extLst>
          </p:cNvPr>
          <p:cNvSpPr>
            <a:spLocks noGrp="1"/>
          </p:cNvSpPr>
          <p:nvPr>
            <p:ph type="dt" sz="half" idx="10"/>
          </p:nvPr>
        </p:nvSpPr>
        <p:spPr/>
        <p:txBody>
          <a:bodyPr/>
          <a:lstStyle/>
          <a:p>
            <a:fld id="{469AC970-D5BA-4C8F-B1E1-CD031371C8D9}" type="datetimeFigureOut">
              <a:rPr lang="pt-BR" smtClean="0"/>
              <a:t>11/05/2026</a:t>
            </a:fld>
            <a:endParaRPr lang="pt-BR"/>
          </a:p>
        </p:txBody>
      </p:sp>
      <p:sp>
        <p:nvSpPr>
          <p:cNvPr id="6" name="Espaço Reservado para Rodapé 5">
            <a:extLst>
              <a:ext uri="{FF2B5EF4-FFF2-40B4-BE49-F238E27FC236}">
                <a16:creationId xmlns:a16="http://schemas.microsoft.com/office/drawing/2014/main" id="{99660C7C-E06C-FB60-2E31-B6F71E6FA788}"/>
              </a:ext>
            </a:extLst>
          </p:cNvPr>
          <p:cNvSpPr>
            <a:spLocks noGrp="1"/>
          </p:cNvSpPr>
          <p:nvPr>
            <p:ph type="ftr" sz="quarter" idx="11"/>
          </p:nvPr>
        </p:nvSpPr>
        <p:spPr/>
        <p:txBody>
          <a:bodyPr/>
          <a:lstStyle/>
          <a:p>
            <a:endParaRPr lang="pt-BR"/>
          </a:p>
        </p:txBody>
      </p:sp>
      <p:sp>
        <p:nvSpPr>
          <p:cNvPr id="7" name="Espaço Reservado para Número de Slide 6">
            <a:extLst>
              <a:ext uri="{FF2B5EF4-FFF2-40B4-BE49-F238E27FC236}">
                <a16:creationId xmlns:a16="http://schemas.microsoft.com/office/drawing/2014/main" id="{65542CD6-F290-B599-8AA8-8A4ACE3F3259}"/>
              </a:ext>
            </a:extLst>
          </p:cNvPr>
          <p:cNvSpPr>
            <a:spLocks noGrp="1"/>
          </p:cNvSpPr>
          <p:nvPr>
            <p:ph type="sldNum" sz="quarter" idx="12"/>
          </p:nvPr>
        </p:nvSpPr>
        <p:spPr/>
        <p:txBody>
          <a:bodyPr/>
          <a:lstStyle/>
          <a:p>
            <a:fld id="{C2DC0A5C-548C-4DDD-B0B9-C90FCFE2B2B1}" type="slidenum">
              <a:rPr lang="pt-BR" smtClean="0"/>
              <a:t>‹nº›</a:t>
            </a:fld>
            <a:endParaRPr lang="pt-BR"/>
          </a:p>
        </p:txBody>
      </p:sp>
    </p:spTree>
    <p:extLst>
      <p:ext uri="{BB962C8B-B14F-4D97-AF65-F5344CB8AC3E}">
        <p14:creationId xmlns:p14="http://schemas.microsoft.com/office/powerpoint/2010/main" val="34986656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73EFAA2-5A13-5A66-B6E9-A65DE95E9C7D}"/>
              </a:ext>
            </a:extLst>
          </p:cNvPr>
          <p:cNvSpPr>
            <a:spLocks noGrp="1"/>
          </p:cNvSpPr>
          <p:nvPr>
            <p:ph type="title"/>
          </p:nvPr>
        </p:nvSpPr>
        <p:spPr>
          <a:xfrm>
            <a:off x="839788" y="457200"/>
            <a:ext cx="3932237" cy="1600200"/>
          </a:xfrm>
        </p:spPr>
        <p:txBody>
          <a:bodyPr anchor="b"/>
          <a:lstStyle>
            <a:lvl1pPr>
              <a:defRPr sz="3200"/>
            </a:lvl1pPr>
          </a:lstStyle>
          <a:p>
            <a:r>
              <a:rPr lang="pt-BR"/>
              <a:t>Clique para editar o título Mestre</a:t>
            </a:r>
          </a:p>
        </p:txBody>
      </p:sp>
      <p:sp>
        <p:nvSpPr>
          <p:cNvPr id="3" name="Espaço Reservado para Imagem 2">
            <a:extLst>
              <a:ext uri="{FF2B5EF4-FFF2-40B4-BE49-F238E27FC236}">
                <a16:creationId xmlns:a16="http://schemas.microsoft.com/office/drawing/2014/main" id="{E2D0F9A8-B991-FEC7-04E0-0DCD4146949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t-BR"/>
          </a:p>
        </p:txBody>
      </p:sp>
      <p:sp>
        <p:nvSpPr>
          <p:cNvPr id="4" name="Espaço Reservado para Texto 3">
            <a:extLst>
              <a:ext uri="{FF2B5EF4-FFF2-40B4-BE49-F238E27FC236}">
                <a16:creationId xmlns:a16="http://schemas.microsoft.com/office/drawing/2014/main" id="{6FDF69D5-170C-3599-BC92-2E287D1C96B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Clique para editar os estilos de texto Mestres</a:t>
            </a:r>
          </a:p>
        </p:txBody>
      </p:sp>
      <p:sp>
        <p:nvSpPr>
          <p:cNvPr id="5" name="Espaço Reservado para Data 4">
            <a:extLst>
              <a:ext uri="{FF2B5EF4-FFF2-40B4-BE49-F238E27FC236}">
                <a16:creationId xmlns:a16="http://schemas.microsoft.com/office/drawing/2014/main" id="{E6982704-88B0-1964-43EA-2149EDBEF510}"/>
              </a:ext>
            </a:extLst>
          </p:cNvPr>
          <p:cNvSpPr>
            <a:spLocks noGrp="1"/>
          </p:cNvSpPr>
          <p:nvPr>
            <p:ph type="dt" sz="half" idx="10"/>
          </p:nvPr>
        </p:nvSpPr>
        <p:spPr/>
        <p:txBody>
          <a:bodyPr/>
          <a:lstStyle/>
          <a:p>
            <a:fld id="{469AC970-D5BA-4C8F-B1E1-CD031371C8D9}" type="datetimeFigureOut">
              <a:rPr lang="pt-BR" smtClean="0"/>
              <a:t>11/05/2026</a:t>
            </a:fld>
            <a:endParaRPr lang="pt-BR"/>
          </a:p>
        </p:txBody>
      </p:sp>
      <p:sp>
        <p:nvSpPr>
          <p:cNvPr id="6" name="Espaço Reservado para Rodapé 5">
            <a:extLst>
              <a:ext uri="{FF2B5EF4-FFF2-40B4-BE49-F238E27FC236}">
                <a16:creationId xmlns:a16="http://schemas.microsoft.com/office/drawing/2014/main" id="{0E83C4CE-9CBD-9A50-CEF8-491CCB66CE76}"/>
              </a:ext>
            </a:extLst>
          </p:cNvPr>
          <p:cNvSpPr>
            <a:spLocks noGrp="1"/>
          </p:cNvSpPr>
          <p:nvPr>
            <p:ph type="ftr" sz="quarter" idx="11"/>
          </p:nvPr>
        </p:nvSpPr>
        <p:spPr/>
        <p:txBody>
          <a:bodyPr/>
          <a:lstStyle/>
          <a:p>
            <a:endParaRPr lang="pt-BR"/>
          </a:p>
        </p:txBody>
      </p:sp>
      <p:sp>
        <p:nvSpPr>
          <p:cNvPr id="7" name="Espaço Reservado para Número de Slide 6">
            <a:extLst>
              <a:ext uri="{FF2B5EF4-FFF2-40B4-BE49-F238E27FC236}">
                <a16:creationId xmlns:a16="http://schemas.microsoft.com/office/drawing/2014/main" id="{0C9C67CA-4FEC-B622-5361-FCBC407BE8DD}"/>
              </a:ext>
            </a:extLst>
          </p:cNvPr>
          <p:cNvSpPr>
            <a:spLocks noGrp="1"/>
          </p:cNvSpPr>
          <p:nvPr>
            <p:ph type="sldNum" sz="quarter" idx="12"/>
          </p:nvPr>
        </p:nvSpPr>
        <p:spPr/>
        <p:txBody>
          <a:bodyPr/>
          <a:lstStyle/>
          <a:p>
            <a:fld id="{C2DC0A5C-548C-4DDD-B0B9-C90FCFE2B2B1}" type="slidenum">
              <a:rPr lang="pt-BR" smtClean="0"/>
              <a:t>‹nº›</a:t>
            </a:fld>
            <a:endParaRPr lang="pt-BR"/>
          </a:p>
        </p:txBody>
      </p:sp>
    </p:spTree>
    <p:extLst>
      <p:ext uri="{BB962C8B-B14F-4D97-AF65-F5344CB8AC3E}">
        <p14:creationId xmlns:p14="http://schemas.microsoft.com/office/powerpoint/2010/main" val="2995496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3.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heme" Target="../theme/theme4.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49.xml"/><Relationship Id="rId1" Type="http://schemas.openxmlformats.org/officeDocument/2006/relationships/slideLayout" Target="../slideLayouts/slideLayout4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theme" Target="../theme/theme6.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Título 1">
            <a:extLst>
              <a:ext uri="{FF2B5EF4-FFF2-40B4-BE49-F238E27FC236}">
                <a16:creationId xmlns:a16="http://schemas.microsoft.com/office/drawing/2014/main" id="{28949A37-022B-5CAC-EB38-C0DF8A693F5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pt-BR"/>
              <a:t>Clique para editar o título Mestre</a:t>
            </a:r>
          </a:p>
        </p:txBody>
      </p:sp>
      <p:sp>
        <p:nvSpPr>
          <p:cNvPr id="3" name="Espaço Reservado para Texto 2">
            <a:extLst>
              <a:ext uri="{FF2B5EF4-FFF2-40B4-BE49-F238E27FC236}">
                <a16:creationId xmlns:a16="http://schemas.microsoft.com/office/drawing/2014/main" id="{A9B79165-62DD-03C5-FA4A-9547DC198E7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1ED08372-8D6E-3F13-F9DA-916DF216C37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469AC970-D5BA-4C8F-B1E1-CD031371C8D9}" type="datetimeFigureOut">
              <a:rPr lang="pt-BR" smtClean="0"/>
              <a:t>11/05/2026</a:t>
            </a:fld>
            <a:endParaRPr lang="pt-BR"/>
          </a:p>
        </p:txBody>
      </p:sp>
      <p:sp>
        <p:nvSpPr>
          <p:cNvPr id="5" name="Espaço Reservado para Rodapé 4">
            <a:extLst>
              <a:ext uri="{FF2B5EF4-FFF2-40B4-BE49-F238E27FC236}">
                <a16:creationId xmlns:a16="http://schemas.microsoft.com/office/drawing/2014/main" id="{4F316E8A-A00A-821F-A2A3-9D6D579C3D0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pt-BR"/>
          </a:p>
        </p:txBody>
      </p:sp>
      <p:sp>
        <p:nvSpPr>
          <p:cNvPr id="6" name="Espaço Reservado para Número de Slide 5">
            <a:extLst>
              <a:ext uri="{FF2B5EF4-FFF2-40B4-BE49-F238E27FC236}">
                <a16:creationId xmlns:a16="http://schemas.microsoft.com/office/drawing/2014/main" id="{69627196-9E50-AC57-B379-1B3541EBFF1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C2DC0A5C-548C-4DDD-B0B9-C90FCFE2B2B1}" type="slidenum">
              <a:rPr lang="pt-BR" smtClean="0"/>
              <a:t>‹nº›</a:t>
            </a:fld>
            <a:endParaRPr lang="pt-BR"/>
          </a:p>
        </p:txBody>
      </p:sp>
      <p:sp>
        <p:nvSpPr>
          <p:cNvPr id="8" name="CaixaDeTexto 7">
            <a:extLst>
              <a:ext uri="{FF2B5EF4-FFF2-40B4-BE49-F238E27FC236}">
                <a16:creationId xmlns:a16="http://schemas.microsoft.com/office/drawing/2014/main" id="{A3435ABB-7F7E-57BE-1525-1EE974748AB4}"/>
              </a:ext>
            </a:extLst>
          </p:cNvPr>
          <p:cNvSpPr txBox="1"/>
          <p:nvPr>
            <p:extLst>
              <p:ext uri="{1162E1C5-73C7-4A58-AE30-91384D911F3F}">
                <p184:classification xmlns:p184="http://schemas.microsoft.com/office/powerpoint/2018/4/main" val="ftr"/>
              </p:ext>
            </p:extLst>
          </p:nvPr>
        </p:nvSpPr>
        <p:spPr>
          <a:xfrm>
            <a:off x="5751513" y="6626860"/>
            <a:ext cx="735012" cy="167640"/>
          </a:xfrm>
          <a:prstGeom prst="rect">
            <a:avLst/>
          </a:prstGeom>
        </p:spPr>
        <p:txBody>
          <a:bodyPr horzOverflow="overflow" lIns="0" tIns="0" rIns="0" bIns="0">
            <a:spAutoFit/>
          </a:bodyPr>
          <a:lstStyle/>
          <a:p>
            <a:pPr algn="l"/>
            <a:r>
              <a:rPr lang="pt-BR" sz="1100">
                <a:solidFill>
                  <a:srgbClr val="737373"/>
                </a:solidFill>
                <a:latin typeface="Arial Black" panose="020B0A04020102020204" pitchFamily="34" charset="0"/>
              </a:rPr>
              <a:t>PÚBLICA</a:t>
            </a:r>
          </a:p>
        </p:txBody>
      </p:sp>
    </p:spTree>
    <p:extLst>
      <p:ext uri="{BB962C8B-B14F-4D97-AF65-F5344CB8AC3E}">
        <p14:creationId xmlns:p14="http://schemas.microsoft.com/office/powerpoint/2010/main" val="231118421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991" r:id="rId12"/>
    <p:sldLayoutId id="2147483992"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ço Reservado para Título 1">
            <a:extLst>
              <a:ext uri="{FF2B5EF4-FFF2-40B4-BE49-F238E27FC236}">
                <a16:creationId xmlns:a16="http://schemas.microsoft.com/office/drawing/2014/main" id="{BEA852B4-C4F8-FDBC-3CF2-8CB7E489A69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pt-BR"/>
              <a:t>Clique para editar o título Mestre</a:t>
            </a:r>
          </a:p>
        </p:txBody>
      </p:sp>
      <p:sp>
        <p:nvSpPr>
          <p:cNvPr id="3" name="Espaço Reservado para Texto 2">
            <a:extLst>
              <a:ext uri="{FF2B5EF4-FFF2-40B4-BE49-F238E27FC236}">
                <a16:creationId xmlns:a16="http://schemas.microsoft.com/office/drawing/2014/main" id="{4BE79A92-5019-2E4B-C541-29EC0F6825F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AC4A368D-EF4A-222C-05CA-87DCC8271C1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65B4EC1A-3C8A-40B3-9A34-7FD9536B0A72}" type="datetimeFigureOut">
              <a:rPr lang="pt-BR" smtClean="0"/>
              <a:t>11/05/2026</a:t>
            </a:fld>
            <a:endParaRPr lang="pt-BR"/>
          </a:p>
        </p:txBody>
      </p:sp>
      <p:sp>
        <p:nvSpPr>
          <p:cNvPr id="5" name="Espaço Reservado para Rodapé 4">
            <a:extLst>
              <a:ext uri="{FF2B5EF4-FFF2-40B4-BE49-F238E27FC236}">
                <a16:creationId xmlns:a16="http://schemas.microsoft.com/office/drawing/2014/main" id="{D503A8EE-5A17-9C4E-8CAA-EA5BAB6FD56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pt-BR"/>
          </a:p>
        </p:txBody>
      </p:sp>
      <p:sp>
        <p:nvSpPr>
          <p:cNvPr id="6" name="Espaço Reservado para Número de Slide 5">
            <a:extLst>
              <a:ext uri="{FF2B5EF4-FFF2-40B4-BE49-F238E27FC236}">
                <a16:creationId xmlns:a16="http://schemas.microsoft.com/office/drawing/2014/main" id="{5C857CA7-F68A-D194-1613-BC844D7DC6F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7552F7E6-A746-4507-91DC-D17E96079A1D}" type="slidenum">
              <a:rPr lang="pt-BR" smtClean="0"/>
              <a:t>‹nº›</a:t>
            </a:fld>
            <a:endParaRPr lang="pt-BR"/>
          </a:p>
        </p:txBody>
      </p:sp>
    </p:spTree>
    <p:extLst>
      <p:ext uri="{BB962C8B-B14F-4D97-AF65-F5344CB8AC3E}">
        <p14:creationId xmlns:p14="http://schemas.microsoft.com/office/powerpoint/2010/main" val="57593895"/>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ço Reservado para Título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pt-BR"/>
              <a:t>Clique para editar o título mestre</a:t>
            </a:r>
          </a:p>
        </p:txBody>
      </p:sp>
      <p:sp>
        <p:nvSpPr>
          <p:cNvPr id="3" name="Espaço Reservado para Tex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147567D-645F-47F3-AACE-4FE6D14F5CEC}" type="datetimeFigureOut">
              <a:rPr lang="pt-BR" smtClean="0"/>
              <a:t>11/05/2026</a:t>
            </a:fld>
            <a:endParaRPr lang="pt-BR"/>
          </a:p>
        </p:txBody>
      </p:sp>
      <p:sp>
        <p:nvSpPr>
          <p:cNvPr id="5" name="Espaço Reservado para Rodapé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pt-BR"/>
          </a:p>
        </p:txBody>
      </p:sp>
      <p:sp>
        <p:nvSpPr>
          <p:cNvPr id="6" name="Espaço Reservado para Número de Slide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87BF145-6CDA-4FDB-A3A7-D31A8AE7EBD0}" type="slidenum">
              <a:rPr lang="pt-BR" smtClean="0"/>
              <a:t>‹nº›</a:t>
            </a:fld>
            <a:endParaRPr lang="pt-BR"/>
          </a:p>
        </p:txBody>
      </p:sp>
      <p:sp>
        <p:nvSpPr>
          <p:cNvPr id="7" name="MSIPCMContentMarking" descr="{&quot;HashCode&quot;:1968114299,&quot;Placement&quot;:&quot;Header&quot;,&quot;Top&quot;:0.0,&quot;Left&quot;:665.648,&quot;SlideWidth&quot;:720,&quot;SlideHeight&quot;:540}"/>
          <p:cNvSpPr txBox="1"/>
          <p:nvPr userDrawn="1"/>
        </p:nvSpPr>
        <p:spPr>
          <a:xfrm>
            <a:off x="11271641" y="57631"/>
            <a:ext cx="920361" cy="215444"/>
          </a:xfrm>
          <a:prstGeom prst="rect">
            <a:avLst/>
          </a:prstGeom>
          <a:noFill/>
        </p:spPr>
        <p:txBody>
          <a:bodyPr vert="horz" wrap="square" lIns="0" tIns="0" rIns="0" bIns="0" rtlCol="0" anchor="ctr" anchorCtr="1">
            <a:spAutoFit/>
          </a:bodyPr>
          <a:lstStyle/>
          <a:p>
            <a:pPr algn="r">
              <a:spcBef>
                <a:spcPts val="0"/>
              </a:spcBef>
              <a:spcAft>
                <a:spcPts val="0"/>
              </a:spcAft>
            </a:pPr>
            <a:r>
              <a:rPr lang="pt-BR" sz="1400">
                <a:solidFill>
                  <a:srgbClr val="0078D7"/>
                </a:solidFill>
                <a:latin typeface="Calibri" panose="020F0502020204030204" pitchFamily="34" charset="0"/>
              </a:rPr>
              <a:t>NP-1</a:t>
            </a:r>
          </a:p>
        </p:txBody>
      </p:sp>
    </p:spTree>
    <p:extLst>
      <p:ext uri="{BB962C8B-B14F-4D97-AF65-F5344CB8AC3E}">
        <p14:creationId xmlns:p14="http://schemas.microsoft.com/office/powerpoint/2010/main" val="1580172302"/>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ço Reservado para Título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pt-BR"/>
              <a:t>Clique para editar o título mestre</a:t>
            </a:r>
          </a:p>
        </p:txBody>
      </p:sp>
      <p:sp>
        <p:nvSpPr>
          <p:cNvPr id="3" name="Espaço Reservado para Tex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147567D-645F-47F3-AACE-4FE6D14F5CEC}" type="datetimeFigureOut">
              <a:rPr lang="pt-BR" smtClean="0"/>
              <a:t>11/05/2026</a:t>
            </a:fld>
            <a:endParaRPr lang="pt-BR"/>
          </a:p>
        </p:txBody>
      </p:sp>
      <p:sp>
        <p:nvSpPr>
          <p:cNvPr id="5" name="Espaço Reservado para Rodapé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pt-BR"/>
          </a:p>
        </p:txBody>
      </p:sp>
      <p:sp>
        <p:nvSpPr>
          <p:cNvPr id="6" name="Espaço Reservado para Número de Slide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87BF145-6CDA-4FDB-A3A7-D31A8AE7EBD0}" type="slidenum">
              <a:rPr lang="pt-BR" smtClean="0"/>
              <a:t>‹nº›</a:t>
            </a:fld>
            <a:endParaRPr lang="pt-BR"/>
          </a:p>
        </p:txBody>
      </p:sp>
      <p:sp>
        <p:nvSpPr>
          <p:cNvPr id="7" name="MSIPCMContentMarking" descr="{&quot;HashCode&quot;:1968114299,&quot;Placement&quot;:&quot;Header&quot;,&quot;Top&quot;:0.0,&quot;Left&quot;:665.648,&quot;SlideWidth&quot;:720,&quot;SlideHeight&quot;:540}"/>
          <p:cNvSpPr txBox="1"/>
          <p:nvPr userDrawn="1"/>
        </p:nvSpPr>
        <p:spPr>
          <a:xfrm>
            <a:off x="11271641" y="57631"/>
            <a:ext cx="920361" cy="215444"/>
          </a:xfrm>
          <a:prstGeom prst="rect">
            <a:avLst/>
          </a:prstGeom>
          <a:noFill/>
        </p:spPr>
        <p:txBody>
          <a:bodyPr vert="horz" wrap="square" lIns="0" tIns="0" rIns="0" bIns="0" rtlCol="0" anchor="ctr" anchorCtr="1">
            <a:spAutoFit/>
          </a:bodyPr>
          <a:lstStyle/>
          <a:p>
            <a:pPr algn="r">
              <a:spcBef>
                <a:spcPts val="0"/>
              </a:spcBef>
              <a:spcAft>
                <a:spcPts val="0"/>
              </a:spcAft>
            </a:pPr>
            <a:r>
              <a:rPr lang="pt-BR" sz="1400">
                <a:solidFill>
                  <a:srgbClr val="0078D7"/>
                </a:solidFill>
                <a:latin typeface="Calibri" panose="020F0502020204030204" pitchFamily="34" charset="0"/>
              </a:rPr>
              <a:t>NP-1</a:t>
            </a:r>
          </a:p>
        </p:txBody>
      </p:sp>
    </p:spTree>
    <p:extLst>
      <p:ext uri="{BB962C8B-B14F-4D97-AF65-F5344CB8AC3E}">
        <p14:creationId xmlns:p14="http://schemas.microsoft.com/office/powerpoint/2010/main" val="3185749281"/>
      </p:ext>
    </p:extLst>
  </p:cSld>
  <p:clrMap bg1="lt1" tx1="dk1" bg2="lt2" tx2="dk2" accent1="accent1" accent2="accent2" accent3="accent3" accent4="accent4" accent5="accent5" accent6="accent6" hlink="hlink" folHlink="folHlink"/>
  <p:sldLayoutIdLst>
    <p:sldLayoutId id="2147483959" r:id="rId1"/>
    <p:sldLayoutId id="2147483960" r:id="rId2"/>
    <p:sldLayoutId id="2147483961" r:id="rId3"/>
    <p:sldLayoutId id="2147483962" r:id="rId4"/>
    <p:sldLayoutId id="2147483963" r:id="rId5"/>
    <p:sldLayoutId id="2147483964" r:id="rId6"/>
    <p:sldLayoutId id="2147483965" r:id="rId7"/>
    <p:sldLayoutId id="2147483966" r:id="rId8"/>
    <p:sldLayoutId id="2147483967" r:id="rId9"/>
    <p:sldLayoutId id="2147483968" r:id="rId10"/>
    <p:sldLayoutId id="2147483969" r:id="rId11"/>
    <p:sldLayoutId id="214748397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MSIPCMContentMarking" descr="{&quot;HashCode&quot;:1968114299,&quot;Placement&quot;:&quot;Header&quot;,&quot;Top&quot;:0.0,&quot;Left&quot;:665.648,&quot;SlideWidth&quot;:720,&quot;SlideHeight&quot;:405}"/>
          <p:cNvSpPr txBox="1"/>
          <p:nvPr userDrawn="1"/>
        </p:nvSpPr>
        <p:spPr>
          <a:xfrm>
            <a:off x="11271641" y="76809"/>
            <a:ext cx="920361" cy="287323"/>
          </a:xfrm>
          <a:prstGeom prst="rect">
            <a:avLst/>
          </a:prstGeom>
          <a:noFill/>
        </p:spPr>
        <p:txBody>
          <a:bodyPr vert="horz" wrap="square" lIns="0" tIns="0" rIns="0" bIns="0" rtlCol="0" anchor="ctr" anchorCtr="1">
            <a:spAutoFit/>
          </a:bodyPr>
          <a:lstStyle/>
          <a:p>
            <a:pPr algn="r">
              <a:spcBef>
                <a:spcPts val="0"/>
              </a:spcBef>
              <a:spcAft>
                <a:spcPts val="0"/>
              </a:spcAft>
            </a:pPr>
            <a:r>
              <a:rPr lang="pt-BR" sz="1867">
                <a:solidFill>
                  <a:srgbClr val="0078D7"/>
                </a:solidFill>
                <a:latin typeface="Calibri" panose="020F0502020204030204" pitchFamily="34" charset="0"/>
              </a:rPr>
              <a:t>NP-1</a:t>
            </a:r>
          </a:p>
        </p:txBody>
      </p:sp>
    </p:spTree>
    <p:extLst>
      <p:ext uri="{BB962C8B-B14F-4D97-AF65-F5344CB8AC3E}">
        <p14:creationId xmlns:p14="http://schemas.microsoft.com/office/powerpoint/2010/main" val="1732912091"/>
      </p:ext>
    </p:extLst>
  </p:cSld>
  <p:clrMap bg1="lt1" tx1="dk1" bg2="lt2" tx2="dk2" accent1="accent1" accent2="accent2" accent3="accent3" accent4="accent4" accent5="accent5" accent6="accent6" hlink="hlink" folHlink="folHlink"/>
  <p:sldLayoutIdLst>
    <p:sldLayoutId id="2147483972" r:id="rId1"/>
    <p:sldLayoutId id="2147483973" r:id="rId2"/>
  </p:sldLayoutIdLst>
  <p:txStyles>
    <p:titleStyle>
      <a:lvl1pPr>
        <a:defRPr>
          <a:latin typeface="+mj-lt"/>
          <a:ea typeface="+mj-ea"/>
          <a:cs typeface="+mj-cs"/>
        </a:defRPr>
      </a:lvl1pPr>
    </p:titleStyle>
    <p:bodyStyle>
      <a:lvl1pPr marL="0">
        <a:defRPr>
          <a:latin typeface="+mn-lt"/>
          <a:ea typeface="+mn-ea"/>
          <a:cs typeface="+mn-cs"/>
        </a:defRPr>
      </a:lvl1pPr>
      <a:lvl2pPr marL="277240">
        <a:defRPr>
          <a:latin typeface="+mn-lt"/>
          <a:ea typeface="+mn-ea"/>
          <a:cs typeface="+mn-cs"/>
        </a:defRPr>
      </a:lvl2pPr>
      <a:lvl3pPr marL="554478">
        <a:defRPr>
          <a:latin typeface="+mn-lt"/>
          <a:ea typeface="+mn-ea"/>
          <a:cs typeface="+mn-cs"/>
        </a:defRPr>
      </a:lvl3pPr>
      <a:lvl4pPr marL="831718">
        <a:defRPr>
          <a:latin typeface="+mn-lt"/>
          <a:ea typeface="+mn-ea"/>
          <a:cs typeface="+mn-cs"/>
        </a:defRPr>
      </a:lvl4pPr>
      <a:lvl5pPr marL="1108956">
        <a:defRPr>
          <a:latin typeface="+mn-lt"/>
          <a:ea typeface="+mn-ea"/>
          <a:cs typeface="+mn-cs"/>
        </a:defRPr>
      </a:lvl5pPr>
      <a:lvl6pPr marL="1386196">
        <a:defRPr>
          <a:latin typeface="+mn-lt"/>
          <a:ea typeface="+mn-ea"/>
          <a:cs typeface="+mn-cs"/>
        </a:defRPr>
      </a:lvl6pPr>
      <a:lvl7pPr marL="1663434">
        <a:defRPr>
          <a:latin typeface="+mn-lt"/>
          <a:ea typeface="+mn-ea"/>
          <a:cs typeface="+mn-cs"/>
        </a:defRPr>
      </a:lvl7pPr>
      <a:lvl8pPr marL="1940674">
        <a:defRPr>
          <a:latin typeface="+mn-lt"/>
          <a:ea typeface="+mn-ea"/>
          <a:cs typeface="+mn-cs"/>
        </a:defRPr>
      </a:lvl8pPr>
      <a:lvl9pPr marL="2217913">
        <a:defRPr>
          <a:latin typeface="+mn-lt"/>
          <a:ea typeface="+mn-ea"/>
          <a:cs typeface="+mn-cs"/>
        </a:defRPr>
      </a:lvl9pPr>
    </p:bodyStyle>
    <p:otherStyle>
      <a:lvl1pPr marL="0">
        <a:defRPr>
          <a:latin typeface="+mn-lt"/>
          <a:ea typeface="+mn-ea"/>
          <a:cs typeface="+mn-cs"/>
        </a:defRPr>
      </a:lvl1pPr>
      <a:lvl2pPr marL="277240">
        <a:defRPr>
          <a:latin typeface="+mn-lt"/>
          <a:ea typeface="+mn-ea"/>
          <a:cs typeface="+mn-cs"/>
        </a:defRPr>
      </a:lvl2pPr>
      <a:lvl3pPr marL="554478">
        <a:defRPr>
          <a:latin typeface="+mn-lt"/>
          <a:ea typeface="+mn-ea"/>
          <a:cs typeface="+mn-cs"/>
        </a:defRPr>
      </a:lvl3pPr>
      <a:lvl4pPr marL="831718">
        <a:defRPr>
          <a:latin typeface="+mn-lt"/>
          <a:ea typeface="+mn-ea"/>
          <a:cs typeface="+mn-cs"/>
        </a:defRPr>
      </a:lvl4pPr>
      <a:lvl5pPr marL="1108956">
        <a:defRPr>
          <a:latin typeface="+mn-lt"/>
          <a:ea typeface="+mn-ea"/>
          <a:cs typeface="+mn-cs"/>
        </a:defRPr>
      </a:lvl5pPr>
      <a:lvl6pPr marL="1386196">
        <a:defRPr>
          <a:latin typeface="+mn-lt"/>
          <a:ea typeface="+mn-ea"/>
          <a:cs typeface="+mn-cs"/>
        </a:defRPr>
      </a:lvl6pPr>
      <a:lvl7pPr marL="1663434">
        <a:defRPr>
          <a:latin typeface="+mn-lt"/>
          <a:ea typeface="+mn-ea"/>
          <a:cs typeface="+mn-cs"/>
        </a:defRPr>
      </a:lvl7pPr>
      <a:lvl8pPr marL="1940674">
        <a:defRPr>
          <a:latin typeface="+mn-lt"/>
          <a:ea typeface="+mn-ea"/>
          <a:cs typeface="+mn-cs"/>
        </a:defRPr>
      </a:lvl8pPr>
      <a:lvl9pPr marL="2217913">
        <a:defRPr>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tângulo 3">
            <a:extLst>
              <a:ext uri="{FF2B5EF4-FFF2-40B4-BE49-F238E27FC236}">
                <a16:creationId xmlns:a16="http://schemas.microsoft.com/office/drawing/2014/main" id="{137D3E9E-CF7B-8CA8-6DED-AF549D5FE061}"/>
              </a:ext>
            </a:extLst>
          </p:cNvPr>
          <p:cNvSpPr/>
          <p:nvPr userDrawn="1"/>
        </p:nvSpPr>
        <p:spPr>
          <a:xfrm>
            <a:off x="11575958" y="6217920"/>
            <a:ext cx="457319"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900"/>
          </a:p>
        </p:txBody>
      </p:sp>
      <p:sp>
        <p:nvSpPr>
          <p:cNvPr id="7" name="Retângulo 6">
            <a:extLst>
              <a:ext uri="{FF2B5EF4-FFF2-40B4-BE49-F238E27FC236}">
                <a16:creationId xmlns:a16="http://schemas.microsoft.com/office/drawing/2014/main" id="{77BEF6FE-A7F7-4500-90D6-DC7CB5195ED0}"/>
              </a:ext>
            </a:extLst>
          </p:cNvPr>
          <p:cNvSpPr/>
          <p:nvPr userDrawn="1"/>
        </p:nvSpPr>
        <p:spPr>
          <a:xfrm>
            <a:off x="9048329" y="179835"/>
            <a:ext cx="2857847" cy="5760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800"/>
          </a:p>
        </p:txBody>
      </p:sp>
    </p:spTree>
    <p:extLst>
      <p:ext uri="{BB962C8B-B14F-4D97-AF65-F5344CB8AC3E}">
        <p14:creationId xmlns:p14="http://schemas.microsoft.com/office/powerpoint/2010/main" val="544767682"/>
      </p:ext>
    </p:extLst>
  </p:cSld>
  <p:clrMap bg1="lt1" tx1="dk1" bg2="lt2" tx2="dk2" accent1="accent1" accent2="accent2" accent3="accent3" accent4="accent4" accent5="accent5" accent6="accent6" hlink="hlink" folHlink="folHlink"/>
  <p:sldLayoutIdLst>
    <p:sldLayoutId id="2147483975" r:id="rId1"/>
    <p:sldLayoutId id="2147483976" r:id="rId2"/>
    <p:sldLayoutId id="2147483977" r:id="rId3"/>
    <p:sldLayoutId id="2147483978" r:id="rId4"/>
    <p:sldLayoutId id="2147483979" r:id="rId5"/>
    <p:sldLayoutId id="2147483980" r:id="rId6"/>
    <p:sldLayoutId id="2147483981" r:id="rId7"/>
    <p:sldLayoutId id="2147483982" r:id="rId8"/>
    <p:sldLayoutId id="2147483983" r:id="rId9"/>
    <p:sldLayoutId id="2147483984" r:id="rId10"/>
    <p:sldLayoutId id="2147483985" r:id="rId11"/>
    <p:sldLayoutId id="2147483986" r:id="rId12"/>
    <p:sldLayoutId id="2147483987" r:id="rId13"/>
    <p:sldLayoutId id="2147483988" r:id="rId14"/>
    <p:sldLayoutId id="2147483989" r:id="rId15"/>
    <p:sldLayoutId id="2147483990" r:id="rId16"/>
    <p:sldLayoutId id="2147483993" r:id="rId17"/>
  </p:sldLayoutIdLst>
  <p:transition spd="med">
    <p:fade/>
  </p:transition>
  <p:hf sldNum="0" hdr="0" ftr="0"/>
  <p:txStyles>
    <p:titleStyle>
      <a:lvl1pPr algn="ctr" rtl="0" eaLnBrk="0" fontAlgn="base" hangingPunct="0">
        <a:spcBef>
          <a:spcPct val="0"/>
        </a:spcBef>
        <a:spcAft>
          <a:spcPct val="0"/>
        </a:spcAft>
        <a:defRPr sz="4399" kern="1200">
          <a:solidFill>
            <a:schemeClr val="tx1"/>
          </a:solidFill>
          <a:latin typeface="+mj-lt"/>
          <a:ea typeface="+mj-ea"/>
          <a:cs typeface="+mj-cs"/>
        </a:defRPr>
      </a:lvl1pPr>
      <a:lvl2pPr algn="ctr" rtl="0" eaLnBrk="0" fontAlgn="base" hangingPunct="0">
        <a:spcBef>
          <a:spcPct val="0"/>
        </a:spcBef>
        <a:spcAft>
          <a:spcPct val="0"/>
        </a:spcAft>
        <a:defRPr sz="4399">
          <a:solidFill>
            <a:schemeClr val="tx1"/>
          </a:solidFill>
          <a:latin typeface="Calibri" pitchFamily="34" charset="0"/>
        </a:defRPr>
      </a:lvl2pPr>
      <a:lvl3pPr algn="ctr" rtl="0" eaLnBrk="0" fontAlgn="base" hangingPunct="0">
        <a:spcBef>
          <a:spcPct val="0"/>
        </a:spcBef>
        <a:spcAft>
          <a:spcPct val="0"/>
        </a:spcAft>
        <a:defRPr sz="4399">
          <a:solidFill>
            <a:schemeClr val="tx1"/>
          </a:solidFill>
          <a:latin typeface="Calibri" pitchFamily="34" charset="0"/>
        </a:defRPr>
      </a:lvl3pPr>
      <a:lvl4pPr algn="ctr" rtl="0" eaLnBrk="0" fontAlgn="base" hangingPunct="0">
        <a:spcBef>
          <a:spcPct val="0"/>
        </a:spcBef>
        <a:spcAft>
          <a:spcPct val="0"/>
        </a:spcAft>
        <a:defRPr sz="4399">
          <a:solidFill>
            <a:schemeClr val="tx1"/>
          </a:solidFill>
          <a:latin typeface="Calibri" pitchFamily="34" charset="0"/>
        </a:defRPr>
      </a:lvl4pPr>
      <a:lvl5pPr algn="ctr" rtl="0" eaLnBrk="0" fontAlgn="base" hangingPunct="0">
        <a:spcBef>
          <a:spcPct val="0"/>
        </a:spcBef>
        <a:spcAft>
          <a:spcPct val="0"/>
        </a:spcAft>
        <a:defRPr sz="4399">
          <a:solidFill>
            <a:schemeClr val="tx1"/>
          </a:solidFill>
          <a:latin typeface="Calibri" pitchFamily="34" charset="0"/>
        </a:defRPr>
      </a:lvl5pPr>
      <a:lvl6pPr marL="457075" algn="ctr" rtl="0" fontAlgn="base">
        <a:spcBef>
          <a:spcPct val="0"/>
        </a:spcBef>
        <a:spcAft>
          <a:spcPct val="0"/>
        </a:spcAft>
        <a:defRPr sz="4399">
          <a:solidFill>
            <a:schemeClr val="tx1"/>
          </a:solidFill>
          <a:latin typeface="Calibri" pitchFamily="34" charset="0"/>
        </a:defRPr>
      </a:lvl6pPr>
      <a:lvl7pPr marL="914149" algn="ctr" rtl="0" fontAlgn="base">
        <a:spcBef>
          <a:spcPct val="0"/>
        </a:spcBef>
        <a:spcAft>
          <a:spcPct val="0"/>
        </a:spcAft>
        <a:defRPr sz="4399">
          <a:solidFill>
            <a:schemeClr val="tx1"/>
          </a:solidFill>
          <a:latin typeface="Calibri" pitchFamily="34" charset="0"/>
        </a:defRPr>
      </a:lvl7pPr>
      <a:lvl8pPr marL="1371223" algn="ctr" rtl="0" fontAlgn="base">
        <a:spcBef>
          <a:spcPct val="0"/>
        </a:spcBef>
        <a:spcAft>
          <a:spcPct val="0"/>
        </a:spcAft>
        <a:defRPr sz="4399">
          <a:solidFill>
            <a:schemeClr val="tx1"/>
          </a:solidFill>
          <a:latin typeface="Calibri" pitchFamily="34" charset="0"/>
        </a:defRPr>
      </a:lvl8pPr>
      <a:lvl9pPr marL="1828297" algn="ctr" rtl="0" fontAlgn="base">
        <a:spcBef>
          <a:spcPct val="0"/>
        </a:spcBef>
        <a:spcAft>
          <a:spcPct val="0"/>
        </a:spcAft>
        <a:defRPr sz="4399">
          <a:solidFill>
            <a:schemeClr val="tx1"/>
          </a:solidFill>
          <a:latin typeface="Calibri" pitchFamily="34" charset="0"/>
        </a:defRPr>
      </a:lvl9pPr>
    </p:titleStyle>
    <p:bodyStyle>
      <a:lvl1pPr marL="342806" indent="-342806" algn="l" rtl="0" eaLnBrk="0" fontAlgn="base" hangingPunct="0">
        <a:spcBef>
          <a:spcPct val="20000"/>
        </a:spcBef>
        <a:spcAft>
          <a:spcPct val="0"/>
        </a:spcAft>
        <a:buFont typeface="Arial" charset="0"/>
        <a:buChar char="•"/>
        <a:defRPr sz="3199" kern="1200">
          <a:solidFill>
            <a:schemeClr val="tx1"/>
          </a:solidFill>
          <a:latin typeface="+mn-lt"/>
          <a:ea typeface="+mn-ea"/>
          <a:cs typeface="+mn-cs"/>
        </a:defRPr>
      </a:lvl1pPr>
      <a:lvl2pPr marL="742747" indent="-285672"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2686" indent="-228537"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599760" indent="-228537"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6835" indent="-228537"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3909" indent="-228537" algn="l" defTabSz="914149"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83" indent="-228537" algn="l" defTabSz="914149"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057" indent="-228537" algn="l" defTabSz="914149"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132" indent="-228537" algn="l" defTabSz="914149"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pt-BR"/>
      </a:defPPr>
      <a:lvl1pPr marL="0" algn="l" defTabSz="914149" rtl="0" eaLnBrk="1" latinLnBrk="0" hangingPunct="1">
        <a:defRPr sz="1800" kern="1200">
          <a:solidFill>
            <a:schemeClr val="tx1"/>
          </a:solidFill>
          <a:latin typeface="+mn-lt"/>
          <a:ea typeface="+mn-ea"/>
          <a:cs typeface="+mn-cs"/>
        </a:defRPr>
      </a:lvl1pPr>
      <a:lvl2pPr marL="457075" algn="l" defTabSz="914149" rtl="0" eaLnBrk="1" latinLnBrk="0" hangingPunct="1">
        <a:defRPr sz="1800" kern="1200">
          <a:solidFill>
            <a:schemeClr val="tx1"/>
          </a:solidFill>
          <a:latin typeface="+mn-lt"/>
          <a:ea typeface="+mn-ea"/>
          <a:cs typeface="+mn-cs"/>
        </a:defRPr>
      </a:lvl2pPr>
      <a:lvl3pPr marL="914149" algn="l" defTabSz="914149" rtl="0" eaLnBrk="1" latinLnBrk="0" hangingPunct="1">
        <a:defRPr sz="1800" kern="1200">
          <a:solidFill>
            <a:schemeClr val="tx1"/>
          </a:solidFill>
          <a:latin typeface="+mn-lt"/>
          <a:ea typeface="+mn-ea"/>
          <a:cs typeface="+mn-cs"/>
        </a:defRPr>
      </a:lvl3pPr>
      <a:lvl4pPr marL="1371223" algn="l" defTabSz="914149" rtl="0" eaLnBrk="1" latinLnBrk="0" hangingPunct="1">
        <a:defRPr sz="1800" kern="1200">
          <a:solidFill>
            <a:schemeClr val="tx1"/>
          </a:solidFill>
          <a:latin typeface="+mn-lt"/>
          <a:ea typeface="+mn-ea"/>
          <a:cs typeface="+mn-cs"/>
        </a:defRPr>
      </a:lvl4pPr>
      <a:lvl5pPr marL="1828297" algn="l" defTabSz="914149" rtl="0" eaLnBrk="1" latinLnBrk="0" hangingPunct="1">
        <a:defRPr sz="1800" kern="1200">
          <a:solidFill>
            <a:schemeClr val="tx1"/>
          </a:solidFill>
          <a:latin typeface="+mn-lt"/>
          <a:ea typeface="+mn-ea"/>
          <a:cs typeface="+mn-cs"/>
        </a:defRPr>
      </a:lvl5pPr>
      <a:lvl6pPr marL="2285372" algn="l" defTabSz="914149" rtl="0" eaLnBrk="1" latinLnBrk="0" hangingPunct="1">
        <a:defRPr sz="1800" kern="1200">
          <a:solidFill>
            <a:schemeClr val="tx1"/>
          </a:solidFill>
          <a:latin typeface="+mn-lt"/>
          <a:ea typeface="+mn-ea"/>
          <a:cs typeface="+mn-cs"/>
        </a:defRPr>
      </a:lvl6pPr>
      <a:lvl7pPr marL="2742446" algn="l" defTabSz="914149" rtl="0" eaLnBrk="1" latinLnBrk="0" hangingPunct="1">
        <a:defRPr sz="1800" kern="1200">
          <a:solidFill>
            <a:schemeClr val="tx1"/>
          </a:solidFill>
          <a:latin typeface="+mn-lt"/>
          <a:ea typeface="+mn-ea"/>
          <a:cs typeface="+mn-cs"/>
        </a:defRPr>
      </a:lvl7pPr>
      <a:lvl8pPr marL="3199520" algn="l" defTabSz="914149" rtl="0" eaLnBrk="1" latinLnBrk="0" hangingPunct="1">
        <a:defRPr sz="1800" kern="1200">
          <a:solidFill>
            <a:schemeClr val="tx1"/>
          </a:solidFill>
          <a:latin typeface="+mn-lt"/>
          <a:ea typeface="+mn-ea"/>
          <a:cs typeface="+mn-cs"/>
        </a:defRPr>
      </a:lvl8pPr>
      <a:lvl9pPr marL="3656595" algn="l" defTabSz="91414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380">
          <p15:clr>
            <a:srgbClr val="F26B43"/>
          </p15:clr>
        </p15:guide>
        <p15:guide id="2" orient="horz" pos="7971">
          <p15:clr>
            <a:srgbClr val="F26B43"/>
          </p15:clr>
        </p15:guide>
        <p15:guide id="3" pos="1500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7.jpeg"/><Relationship Id="rId7" Type="http://schemas.openxmlformats.org/officeDocument/2006/relationships/image" Target="../media/image31.png"/><Relationship Id="rId2" Type="http://schemas.openxmlformats.org/officeDocument/2006/relationships/notesSlide" Target="../notesSlides/notesSlide1.xml"/><Relationship Id="rId1" Type="http://schemas.openxmlformats.org/officeDocument/2006/relationships/slideLayout" Target="../slideLayouts/slideLayout49.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8.jpeg"/></Relationships>
</file>

<file path=ppt/slides/_rels/slide10.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75.emf"/><Relationship Id="rId7" Type="http://schemas.openxmlformats.org/officeDocument/2006/relationships/image" Target="../media/image79.jpeg"/><Relationship Id="rId2" Type="http://schemas.openxmlformats.org/officeDocument/2006/relationships/image" Target="../media/image74.jpeg"/><Relationship Id="rId1" Type="http://schemas.openxmlformats.org/officeDocument/2006/relationships/slideLayout" Target="../slideLayouts/slideLayout13.xml"/><Relationship Id="rId6" Type="http://schemas.openxmlformats.org/officeDocument/2006/relationships/image" Target="../media/image78.jpeg"/><Relationship Id="rId5" Type="http://schemas.openxmlformats.org/officeDocument/2006/relationships/image" Target="../media/image77.jpeg"/><Relationship Id="rId10" Type="http://schemas.openxmlformats.org/officeDocument/2006/relationships/image" Target="../media/image81.jpeg"/><Relationship Id="rId4" Type="http://schemas.openxmlformats.org/officeDocument/2006/relationships/image" Target="../media/image76.emf"/><Relationship Id="rId9" Type="http://schemas.openxmlformats.org/officeDocument/2006/relationships/image" Target="../media/image80.png"/></Relationships>
</file>

<file path=ppt/slides/_rels/slide1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2.xml"/><Relationship Id="rId5" Type="http://schemas.openxmlformats.org/officeDocument/2006/relationships/image" Target="../media/image83.jpeg"/><Relationship Id="rId4" Type="http://schemas.openxmlformats.org/officeDocument/2006/relationships/image" Target="../media/image82.jpeg"/></Relationships>
</file>

<file path=ppt/slides/_rels/slide1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2.xml"/><Relationship Id="rId4" Type="http://schemas.openxmlformats.org/officeDocument/2006/relationships/image" Target="../media/image83.jpeg"/></Relationships>
</file>

<file path=ppt/slides/_rels/slide1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2.xml"/><Relationship Id="rId4" Type="http://schemas.openxmlformats.org/officeDocument/2006/relationships/image" Target="../media/image83.jpeg"/></Relationships>
</file>

<file path=ppt/slides/_rels/slide1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84.png"/><Relationship Id="rId1" Type="http://schemas.openxmlformats.org/officeDocument/2006/relationships/slideLayout" Target="../slideLayouts/slideLayout1.xml"/><Relationship Id="rId4" Type="http://schemas.openxmlformats.org/officeDocument/2006/relationships/image" Target="../media/image31.png"/></Relationships>
</file>

<file path=ppt/slides/_rels/slide2.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notesSlide" Target="../notesSlides/notesSlide2.xml"/><Relationship Id="rId7" Type="http://schemas.openxmlformats.org/officeDocument/2006/relationships/image" Target="../media/image34.svg"/><Relationship Id="rId2" Type="http://schemas.openxmlformats.org/officeDocument/2006/relationships/slideLayout" Target="../slideLayouts/slideLayout66.xml"/><Relationship Id="rId1" Type="http://schemas.openxmlformats.org/officeDocument/2006/relationships/tags" Target="../tags/tag2.xml"/><Relationship Id="rId6" Type="http://schemas.openxmlformats.org/officeDocument/2006/relationships/image" Target="../media/image33.svg"/><Relationship Id="rId5" Type="http://schemas.openxmlformats.org/officeDocument/2006/relationships/image" Target="../media/image32.emf"/><Relationship Id="rId10" Type="http://schemas.openxmlformats.org/officeDocument/2006/relationships/image" Target="../media/image37.png"/><Relationship Id="rId4" Type="http://schemas.openxmlformats.org/officeDocument/2006/relationships/oleObject" Target="../embeddings/oleObject2.bin"/><Relationship Id="rId9" Type="http://schemas.openxmlformats.org/officeDocument/2006/relationships/image" Target="../media/image36.png"/></Relationships>
</file>

<file path=ppt/slides/_rels/slide3.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notesSlide" Target="../notesSlides/notesSlide3.xml"/><Relationship Id="rId7" Type="http://schemas.openxmlformats.org/officeDocument/2006/relationships/image" Target="../media/image34.svg"/><Relationship Id="rId12" Type="http://schemas.openxmlformats.org/officeDocument/2006/relationships/image" Target="../media/image36.png"/><Relationship Id="rId2" Type="http://schemas.openxmlformats.org/officeDocument/2006/relationships/slideLayout" Target="../slideLayouts/slideLayout66.xml"/><Relationship Id="rId1" Type="http://schemas.openxmlformats.org/officeDocument/2006/relationships/tags" Target="../tags/tag3.xml"/><Relationship Id="rId6" Type="http://schemas.openxmlformats.org/officeDocument/2006/relationships/image" Target="../media/image33.svg"/><Relationship Id="rId11" Type="http://schemas.openxmlformats.org/officeDocument/2006/relationships/image" Target="../media/image41.jpeg"/><Relationship Id="rId5" Type="http://schemas.openxmlformats.org/officeDocument/2006/relationships/image" Target="../media/image32.emf"/><Relationship Id="rId10" Type="http://schemas.openxmlformats.org/officeDocument/2006/relationships/image" Target="../media/image40.png"/><Relationship Id="rId4" Type="http://schemas.openxmlformats.org/officeDocument/2006/relationships/oleObject" Target="../embeddings/oleObject2.bin"/><Relationship Id="rId9" Type="http://schemas.openxmlformats.org/officeDocument/2006/relationships/image" Target="../media/image39.png"/></Relationships>
</file>

<file path=ppt/slides/_rels/slide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64.xml"/><Relationship Id="rId5" Type="http://schemas.openxmlformats.org/officeDocument/2006/relationships/image" Target="../media/image45.png"/><Relationship Id="rId4" Type="http://schemas.openxmlformats.org/officeDocument/2006/relationships/image" Target="../media/image44.jpeg"/></Relationships>
</file>

<file path=ppt/slides/_rels/slide5.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49.emf"/><Relationship Id="rId2" Type="http://schemas.openxmlformats.org/officeDocument/2006/relationships/image" Target="../media/image42.png"/><Relationship Id="rId1" Type="http://schemas.openxmlformats.org/officeDocument/2006/relationships/slideLayout" Target="../slideLayouts/slideLayout64.xml"/><Relationship Id="rId6" Type="http://schemas.openxmlformats.org/officeDocument/2006/relationships/image" Target="../media/image48.emf"/><Relationship Id="rId5" Type="http://schemas.openxmlformats.org/officeDocument/2006/relationships/image" Target="../media/image47.emf"/><Relationship Id="rId4" Type="http://schemas.openxmlformats.org/officeDocument/2006/relationships/image" Target="../media/image46.emf"/></Relationships>
</file>

<file path=ppt/slides/_rels/slide6.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image" Target="../media/image43.png"/><Relationship Id="rId7" Type="http://schemas.openxmlformats.org/officeDocument/2006/relationships/image" Target="../media/image53.svg"/><Relationship Id="rId2" Type="http://schemas.openxmlformats.org/officeDocument/2006/relationships/image" Target="../media/image42.png"/><Relationship Id="rId1" Type="http://schemas.openxmlformats.org/officeDocument/2006/relationships/slideLayout" Target="../slideLayouts/slideLayout64.xml"/><Relationship Id="rId6" Type="http://schemas.openxmlformats.org/officeDocument/2006/relationships/image" Target="../media/image52.svg"/><Relationship Id="rId5" Type="http://schemas.openxmlformats.org/officeDocument/2006/relationships/image" Target="../media/image51.svg"/><Relationship Id="rId4" Type="http://schemas.openxmlformats.org/officeDocument/2006/relationships/image" Target="../media/image50.svg"/><Relationship Id="rId9" Type="http://schemas.openxmlformats.org/officeDocument/2006/relationships/image" Target="../media/image55.sv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34.svg"/><Relationship Id="rId2" Type="http://schemas.openxmlformats.org/officeDocument/2006/relationships/slideLayout" Target="../slideLayouts/slideLayout12.xml"/><Relationship Id="rId1" Type="http://schemas.openxmlformats.org/officeDocument/2006/relationships/tags" Target="../tags/tag4.xml"/><Relationship Id="rId6" Type="http://schemas.openxmlformats.org/officeDocument/2006/relationships/image" Target="../media/image33.svg"/><Relationship Id="rId5" Type="http://schemas.openxmlformats.org/officeDocument/2006/relationships/image" Target="../media/image32.emf"/><Relationship Id="rId4" Type="http://schemas.openxmlformats.org/officeDocument/2006/relationships/oleObject" Target="../embeddings/oleObject2.bin"/></Relationships>
</file>

<file path=ppt/slides/_rels/slide8.xml.rels><?xml version="1.0" encoding="UTF-8" standalone="yes"?>
<Relationships xmlns="http://schemas.openxmlformats.org/package/2006/relationships"><Relationship Id="rId8" Type="http://schemas.openxmlformats.org/officeDocument/2006/relationships/image" Target="../media/image56.emf"/><Relationship Id="rId13" Type="http://schemas.openxmlformats.org/officeDocument/2006/relationships/image" Target="../media/image61.jpeg"/><Relationship Id="rId18" Type="http://schemas.openxmlformats.org/officeDocument/2006/relationships/image" Target="../media/image66.emf"/><Relationship Id="rId3" Type="http://schemas.openxmlformats.org/officeDocument/2006/relationships/notesSlide" Target="../notesSlides/notesSlide5.xml"/><Relationship Id="rId7" Type="http://schemas.openxmlformats.org/officeDocument/2006/relationships/image" Target="../media/image34.svg"/><Relationship Id="rId12" Type="http://schemas.openxmlformats.org/officeDocument/2006/relationships/image" Target="../media/image60.png"/><Relationship Id="rId17" Type="http://schemas.openxmlformats.org/officeDocument/2006/relationships/image" Target="../media/image65.jpeg"/><Relationship Id="rId2" Type="http://schemas.openxmlformats.org/officeDocument/2006/relationships/slideLayout" Target="../slideLayouts/slideLayout12.xml"/><Relationship Id="rId16" Type="http://schemas.openxmlformats.org/officeDocument/2006/relationships/image" Target="../media/image64.jpeg"/><Relationship Id="rId20" Type="http://schemas.openxmlformats.org/officeDocument/2006/relationships/image" Target="../media/image68.png"/><Relationship Id="rId1" Type="http://schemas.openxmlformats.org/officeDocument/2006/relationships/tags" Target="../tags/tag5.xml"/><Relationship Id="rId6" Type="http://schemas.openxmlformats.org/officeDocument/2006/relationships/image" Target="../media/image33.svg"/><Relationship Id="rId11" Type="http://schemas.openxmlformats.org/officeDocument/2006/relationships/image" Target="../media/image59.png"/><Relationship Id="rId5" Type="http://schemas.openxmlformats.org/officeDocument/2006/relationships/image" Target="../media/image32.emf"/><Relationship Id="rId15" Type="http://schemas.openxmlformats.org/officeDocument/2006/relationships/image" Target="../media/image63.png"/><Relationship Id="rId10" Type="http://schemas.openxmlformats.org/officeDocument/2006/relationships/image" Target="../media/image58.jpeg"/><Relationship Id="rId19" Type="http://schemas.openxmlformats.org/officeDocument/2006/relationships/image" Target="../media/image67.jpeg"/><Relationship Id="rId4" Type="http://schemas.openxmlformats.org/officeDocument/2006/relationships/oleObject" Target="../embeddings/oleObject2.bin"/><Relationship Id="rId9" Type="http://schemas.openxmlformats.org/officeDocument/2006/relationships/image" Target="../media/image57.png"/><Relationship Id="rId14" Type="http://schemas.openxmlformats.org/officeDocument/2006/relationships/image" Target="../media/image62.jpeg"/></Relationships>
</file>

<file path=ppt/slides/_rels/slide9.xml.rels><?xml version="1.0" encoding="UTF-8" standalone="yes"?>
<Relationships xmlns="http://schemas.openxmlformats.org/package/2006/relationships"><Relationship Id="rId8" Type="http://schemas.openxmlformats.org/officeDocument/2006/relationships/image" Target="../media/image69.jpeg"/><Relationship Id="rId3" Type="http://schemas.openxmlformats.org/officeDocument/2006/relationships/notesSlide" Target="../notesSlides/notesSlide6.xml"/><Relationship Id="rId7" Type="http://schemas.openxmlformats.org/officeDocument/2006/relationships/image" Target="../media/image34.svg"/><Relationship Id="rId12" Type="http://schemas.openxmlformats.org/officeDocument/2006/relationships/image" Target="../media/image73.emf"/><Relationship Id="rId2" Type="http://schemas.openxmlformats.org/officeDocument/2006/relationships/slideLayout" Target="../slideLayouts/slideLayout12.xml"/><Relationship Id="rId1" Type="http://schemas.openxmlformats.org/officeDocument/2006/relationships/tags" Target="../tags/tag6.xml"/><Relationship Id="rId6" Type="http://schemas.openxmlformats.org/officeDocument/2006/relationships/image" Target="../media/image33.svg"/><Relationship Id="rId11" Type="http://schemas.openxmlformats.org/officeDocument/2006/relationships/image" Target="../media/image72.png"/><Relationship Id="rId5" Type="http://schemas.openxmlformats.org/officeDocument/2006/relationships/image" Target="../media/image32.emf"/><Relationship Id="rId10" Type="http://schemas.openxmlformats.org/officeDocument/2006/relationships/image" Target="../media/image71.png"/><Relationship Id="rId4" Type="http://schemas.openxmlformats.org/officeDocument/2006/relationships/oleObject" Target="../embeddings/oleObject2.bin"/><Relationship Id="rId9" Type="http://schemas.openxmlformats.org/officeDocument/2006/relationships/image" Target="../media/image70.gi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m 2" descr="Sol brilhando em cima de barco na água&#10;&#10;Descrição gerada automaticamente">
            <a:extLst>
              <a:ext uri="{FF2B5EF4-FFF2-40B4-BE49-F238E27FC236}">
                <a16:creationId xmlns:a16="http://schemas.microsoft.com/office/drawing/2014/main" id="{BEA3F6C6-8E5E-1D74-82AB-C9B44B172EF9}"/>
              </a:ext>
            </a:extLst>
          </p:cNvPr>
          <p:cNvPicPr>
            <a:picLocks noChangeAspect="1"/>
          </p:cNvPicPr>
          <p:nvPr/>
        </p:nvPicPr>
        <p:blipFill>
          <a:blip r:embed="rId3">
            <a:extLst>
              <a:ext uri="{28A0092B-C50C-407E-A947-70E740481C1C}">
                <a14:useLocalDpi xmlns:a14="http://schemas.microsoft.com/office/drawing/2010/main" val="0"/>
              </a:ext>
            </a:extLst>
          </a:blip>
          <a:srcRect t="18117" r="39401"/>
          <a:stretch>
            <a:fillRect/>
          </a:stretch>
        </p:blipFill>
        <p:spPr>
          <a:xfrm>
            <a:off x="2851488" y="-39910"/>
            <a:ext cx="9340512" cy="6897911"/>
          </a:xfrm>
          <a:prstGeom prst="rect">
            <a:avLst/>
          </a:prstGeom>
        </p:spPr>
      </p:pic>
      <p:pic>
        <p:nvPicPr>
          <p:cNvPr id="5" name="Espaço Reservado para Conteúdo 4" descr="Barco no mar&#10;&#10;Descrição gerada automaticamente com confiança média">
            <a:extLst>
              <a:ext uri="{FF2B5EF4-FFF2-40B4-BE49-F238E27FC236}">
                <a16:creationId xmlns:a16="http://schemas.microsoft.com/office/drawing/2014/main" id="{8D3BA936-D619-D4D5-7A5F-BF29EA4C4384}"/>
              </a:ext>
            </a:extLst>
          </p:cNvPr>
          <p:cNvPicPr>
            <a:picLocks noGrp="1" noChangeAspect="1"/>
          </p:cNvPicPr>
          <p:nvPr>
            <p:ph idx="4294967295"/>
          </p:nvPr>
        </p:nvPicPr>
        <p:blipFill>
          <a:blip r:embed="rId4"/>
          <a:stretch>
            <a:fillRect/>
          </a:stretch>
        </p:blipFill>
        <p:spPr/>
      </p:pic>
      <p:pic>
        <p:nvPicPr>
          <p:cNvPr id="4" name="Imagem 3" descr="Uma imagem contendo Ícone&#10;&#10;Descrição gerada automaticamente">
            <a:extLst>
              <a:ext uri="{FF2B5EF4-FFF2-40B4-BE49-F238E27FC236}">
                <a16:creationId xmlns:a16="http://schemas.microsoft.com/office/drawing/2014/main" id="{7136D2B0-3E30-C233-26C5-BC85270FC41A}"/>
              </a:ext>
            </a:extLst>
          </p:cNvPr>
          <p:cNvPicPr>
            <a:picLocks noChangeAspect="1"/>
          </p:cNvPicPr>
          <p:nvPr/>
        </p:nvPicPr>
        <p:blipFill rotWithShape="1">
          <a:blip r:embed="rId5">
            <a:extLst>
              <a:ext uri="{28A0092B-C50C-407E-A947-70E740481C1C}">
                <a14:useLocalDpi xmlns:a14="http://schemas.microsoft.com/office/drawing/2010/main" val="0"/>
              </a:ext>
            </a:extLst>
          </a:blip>
          <a:srcRect r="58452"/>
          <a:stretch/>
        </p:blipFill>
        <p:spPr>
          <a:xfrm>
            <a:off x="-22714" y="0"/>
            <a:ext cx="7241661" cy="6907008"/>
          </a:xfrm>
          <a:prstGeom prst="rect">
            <a:avLst/>
          </a:prstGeom>
        </p:spPr>
      </p:pic>
      <p:sp>
        <p:nvSpPr>
          <p:cNvPr id="11" name="object 2">
            <a:extLst>
              <a:ext uri="{FF2B5EF4-FFF2-40B4-BE49-F238E27FC236}">
                <a16:creationId xmlns:a16="http://schemas.microsoft.com/office/drawing/2014/main" id="{FD1422C2-D41A-4DAD-F96B-46E5E6903F75}"/>
              </a:ext>
            </a:extLst>
          </p:cNvPr>
          <p:cNvSpPr txBox="1"/>
          <p:nvPr/>
        </p:nvSpPr>
        <p:spPr>
          <a:xfrm>
            <a:off x="6246577" y="4625312"/>
            <a:ext cx="7560738" cy="1448259"/>
          </a:xfrm>
          <a:prstGeom prst="rect">
            <a:avLst/>
          </a:prstGeom>
        </p:spPr>
        <p:txBody>
          <a:bodyPr vert="horz" wrap="square" lIns="0" tIns="16933" rIns="0" bIns="0" rtlCol="0">
            <a:spAutoFit/>
          </a:bodyPr>
          <a:lstStyle>
            <a:defPPr>
              <a:defRPr lang="pt-BR"/>
            </a:defPPr>
            <a:lvl1pPr marR="0" lvl="0" indent="0" fontAlgn="auto">
              <a:lnSpc>
                <a:spcPct val="100000"/>
              </a:lnSpc>
              <a:spcBef>
                <a:spcPts val="133"/>
              </a:spcBef>
              <a:spcAft>
                <a:spcPts val="0"/>
              </a:spcAft>
              <a:buClrTx/>
              <a:buSzTx/>
              <a:buFontTx/>
              <a:buNone/>
              <a:tabLst/>
              <a:defRPr sz="2800" b="1" i="0">
                <a:solidFill>
                  <a:prstClr val="black">
                    <a:lumMod val="75000"/>
                    <a:lumOff val="25000"/>
                  </a:prstClr>
                </a:solidFill>
                <a:latin typeface="Open Sans" panose="020B0606030504020204" pitchFamily="34" charset="0"/>
                <a:ea typeface="Open Sans" panose="020B0606030504020204" pitchFamily="34" charset="0"/>
                <a:cs typeface="Open Sans" panose="020B0606030504020204" pitchFamily="34" charset="0"/>
              </a:defRPr>
            </a:lvl1pPr>
          </a:lstStyle>
          <a:p>
            <a:pPr algn="ctr" defTabSz="914332">
              <a:spcBef>
                <a:spcPts val="177"/>
              </a:spcBef>
              <a:defRPr/>
            </a:pPr>
            <a:endParaRPr lang="pt-BR" dirty="0">
              <a:solidFill>
                <a:prstClr val="white"/>
              </a:solidFill>
              <a:latin typeface="Calibri" panose="020F0502020204030204" pitchFamily="34" charset="0"/>
              <a:ea typeface="Calibri" panose="020F0502020204030204" pitchFamily="34" charset="0"/>
              <a:cs typeface="Calibri" panose="020F0502020204030204" pitchFamily="34" charset="0"/>
            </a:endParaRPr>
          </a:p>
          <a:p>
            <a:pPr algn="ctr" defTabSz="914332">
              <a:spcBef>
                <a:spcPts val="177"/>
              </a:spcBef>
              <a:defRPr/>
            </a:pPr>
            <a:r>
              <a:rPr lang="pt-BR" sz="2000" dirty="0">
                <a:solidFill>
                  <a:prstClr val="white"/>
                </a:solidFill>
                <a:latin typeface="Calibri" panose="020F0502020204030204" pitchFamily="34" charset="0"/>
                <a:ea typeface="Calibri" panose="020F0502020204030204" pitchFamily="34" charset="0"/>
                <a:cs typeface="Calibri" panose="020F0502020204030204" pitchFamily="34" charset="0"/>
              </a:rPr>
              <a:t>CMI RIO 2026 </a:t>
            </a:r>
          </a:p>
          <a:p>
            <a:pPr algn="ctr" defTabSz="914332">
              <a:spcBef>
                <a:spcPts val="177"/>
              </a:spcBef>
              <a:defRPr/>
            </a:pPr>
            <a:r>
              <a:rPr lang="pt-BR" sz="2000" dirty="0" err="1">
                <a:solidFill>
                  <a:prstClr val="white"/>
                </a:solidFill>
                <a:latin typeface="Calibri" panose="020F0502020204030204" pitchFamily="34" charset="0"/>
                <a:ea typeface="Calibri" panose="020F0502020204030204" pitchFamily="34" charset="0"/>
                <a:cs typeface="Calibri" panose="020F0502020204030204" pitchFamily="34" charset="0"/>
              </a:rPr>
              <a:t>Plenary</a:t>
            </a:r>
            <a:r>
              <a:rPr lang="pt-BR" sz="2000" dirty="0">
                <a:solidFill>
                  <a:prstClr val="white"/>
                </a:solidFill>
                <a:latin typeface="Calibri" panose="020F0502020204030204" pitchFamily="34" charset="0"/>
                <a:ea typeface="Calibri" panose="020F0502020204030204" pitchFamily="34" charset="0"/>
                <a:cs typeface="Calibri" panose="020F0502020204030204" pitchFamily="34" charset="0"/>
              </a:rPr>
              <a:t> </a:t>
            </a:r>
            <a:r>
              <a:rPr lang="pt-BR" sz="2000" dirty="0" err="1">
                <a:solidFill>
                  <a:prstClr val="white"/>
                </a:solidFill>
                <a:latin typeface="Calibri" panose="020F0502020204030204" pitchFamily="34" charset="0"/>
                <a:ea typeface="Calibri" panose="020F0502020204030204" pitchFamily="34" charset="0"/>
                <a:cs typeface="Calibri" panose="020F0502020204030204" pitchFamily="34" charset="0"/>
              </a:rPr>
              <a:t>Session</a:t>
            </a:r>
            <a:endParaRPr lang="pt-BR" sz="2000" dirty="0">
              <a:solidFill>
                <a:prstClr val="white"/>
              </a:solidFill>
              <a:latin typeface="Calibri" panose="020F0502020204030204" pitchFamily="34" charset="0"/>
              <a:ea typeface="Calibri" panose="020F0502020204030204" pitchFamily="34" charset="0"/>
              <a:cs typeface="Calibri" panose="020F0502020204030204" pitchFamily="34" charset="0"/>
            </a:endParaRPr>
          </a:p>
          <a:p>
            <a:pPr algn="ctr" defTabSz="914332">
              <a:spcBef>
                <a:spcPts val="177"/>
              </a:spcBef>
              <a:defRPr/>
            </a:pPr>
            <a:r>
              <a:rPr lang="pt-BR" sz="2000" dirty="0">
                <a:solidFill>
                  <a:prstClr val="white"/>
                </a:solidFill>
                <a:latin typeface="Calibri" panose="020F0502020204030204" pitchFamily="34" charset="0"/>
                <a:ea typeface="Calibri" panose="020F0502020204030204" pitchFamily="34" charset="0"/>
                <a:cs typeface="Calibri" panose="020F0502020204030204" pitchFamily="34" charset="0"/>
              </a:rPr>
              <a:t>Rio de Janeiro, 13/</a:t>
            </a:r>
            <a:r>
              <a:rPr lang="pt-BR" sz="2000" dirty="0" err="1">
                <a:solidFill>
                  <a:prstClr val="white"/>
                </a:solidFill>
                <a:latin typeface="Calibri" panose="020F0502020204030204" pitchFamily="34" charset="0"/>
                <a:ea typeface="Calibri" panose="020F0502020204030204" pitchFamily="34" charset="0"/>
                <a:cs typeface="Calibri" panose="020F0502020204030204" pitchFamily="34" charset="0"/>
              </a:rPr>
              <a:t>may</a:t>
            </a:r>
            <a:r>
              <a:rPr lang="pt-BR" sz="2000" dirty="0">
                <a:solidFill>
                  <a:prstClr val="white"/>
                </a:solidFill>
                <a:latin typeface="Calibri" panose="020F0502020204030204" pitchFamily="34" charset="0"/>
                <a:ea typeface="Calibri" panose="020F0502020204030204" pitchFamily="34" charset="0"/>
                <a:cs typeface="Calibri" panose="020F0502020204030204" pitchFamily="34" charset="0"/>
              </a:rPr>
              <a:t>/2026</a:t>
            </a:r>
            <a:r>
              <a:rPr lang="pt-BR" sz="1400" dirty="0">
                <a:solidFill>
                  <a:prstClr val="white"/>
                </a:solidFill>
                <a:latin typeface="Calibri" panose="020F0502020204030204" pitchFamily="34" charset="0"/>
                <a:ea typeface="Calibri" panose="020F0502020204030204" pitchFamily="34" charset="0"/>
                <a:cs typeface="Calibri" panose="020F0502020204030204" pitchFamily="34" charset="0"/>
              </a:rPr>
              <a:t>. </a:t>
            </a:r>
          </a:p>
        </p:txBody>
      </p:sp>
      <p:pic>
        <p:nvPicPr>
          <p:cNvPr id="10" name="Gráfico 9">
            <a:extLst>
              <a:ext uri="{FF2B5EF4-FFF2-40B4-BE49-F238E27FC236}">
                <a16:creationId xmlns:a16="http://schemas.microsoft.com/office/drawing/2014/main" id="{4D1A2B88-A78C-F8F2-62BC-FAB6500AFDF5}"/>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8923755" y="-221069"/>
            <a:ext cx="3697571" cy="1550301"/>
          </a:xfrm>
          <a:prstGeom prst="rect">
            <a:avLst/>
          </a:prstGeom>
        </p:spPr>
      </p:pic>
      <p:sp>
        <p:nvSpPr>
          <p:cNvPr id="7" name="CaixaDeTexto 6">
            <a:extLst>
              <a:ext uri="{FF2B5EF4-FFF2-40B4-BE49-F238E27FC236}">
                <a16:creationId xmlns:a16="http://schemas.microsoft.com/office/drawing/2014/main" id="{1F06C74B-77FC-3C1B-5508-9A1CF6631240}"/>
              </a:ext>
            </a:extLst>
          </p:cNvPr>
          <p:cNvSpPr txBox="1"/>
          <p:nvPr/>
        </p:nvSpPr>
        <p:spPr>
          <a:xfrm>
            <a:off x="-483413" y="4440848"/>
            <a:ext cx="6324600" cy="769441"/>
          </a:xfrm>
          <a:prstGeom prst="rect">
            <a:avLst/>
          </a:prstGeom>
          <a:noFill/>
        </p:spPr>
        <p:txBody>
          <a:bodyPr wrap="square">
            <a:spAutoFit/>
          </a:bodyPr>
          <a:lstStyle/>
          <a:p>
            <a:pPr algn="ctr" defTabSz="914377"/>
            <a:r>
              <a:rPr lang="pt-BR" sz="1600" b="1" dirty="0">
                <a:solidFill>
                  <a:prstClr val="white"/>
                </a:solidFill>
                <a:effectLst>
                  <a:outerShdw blurRad="38100" dist="38100" dir="2700000" algn="tl">
                    <a:srgbClr val="000000">
                      <a:alpha val="43137"/>
                    </a:srgbClr>
                  </a:outerShdw>
                </a:effectLst>
                <a:latin typeface="Trebuchet MS" panose="020B0603020202020204" pitchFamily="34" charset="0"/>
              </a:rPr>
              <a:t>Capt. Jones A. B. Soares</a:t>
            </a:r>
          </a:p>
          <a:p>
            <a:pPr algn="ctr" defTabSz="914377"/>
            <a:r>
              <a:rPr lang="pt-BR" sz="1400" b="1" dirty="0" err="1">
                <a:solidFill>
                  <a:prstClr val="white"/>
                </a:solidFill>
                <a:effectLst>
                  <a:outerShdw blurRad="38100" dist="38100" dir="2700000" algn="tl">
                    <a:srgbClr val="000000">
                      <a:alpha val="43137"/>
                    </a:srgbClr>
                  </a:outerShdw>
                </a:effectLst>
                <a:latin typeface="Trebuchet MS" panose="020B0603020202020204" pitchFamily="34" charset="0"/>
              </a:rPr>
              <a:t>M.Sc</a:t>
            </a:r>
            <a:r>
              <a:rPr lang="pt-BR" sz="1400" b="1" dirty="0">
                <a:solidFill>
                  <a:prstClr val="white"/>
                </a:solidFill>
                <a:effectLst>
                  <a:outerShdw blurRad="38100" dist="38100" dir="2700000" algn="tl">
                    <a:srgbClr val="000000">
                      <a:alpha val="43137"/>
                    </a:srgbClr>
                  </a:outerShdw>
                </a:effectLst>
                <a:latin typeface="Trebuchet MS" panose="020B0603020202020204" pitchFamily="34" charset="0"/>
              </a:rPr>
              <a:t> AFNI MIFSMA MNAMEPA MCCMM MABDM</a:t>
            </a:r>
          </a:p>
          <a:p>
            <a:pPr algn="ctr" defTabSz="914377"/>
            <a:r>
              <a:rPr lang="en-US" sz="1400" b="1" dirty="0">
                <a:solidFill>
                  <a:prstClr val="white"/>
                </a:solidFill>
                <a:effectLst>
                  <a:outerShdw blurRad="38100" dist="38100" dir="2700000" algn="tl">
                    <a:srgbClr val="000000">
                      <a:alpha val="43137"/>
                    </a:srgbClr>
                  </a:outerShdw>
                </a:effectLst>
                <a:latin typeface="Trebuchet MS" panose="020B0603020202020204" pitchFamily="34" charset="0"/>
              </a:rPr>
              <a:t>Director of Maritime Transport at </a:t>
            </a:r>
            <a:r>
              <a:rPr lang="en-US" sz="1400" b="1" dirty="0" err="1">
                <a:solidFill>
                  <a:prstClr val="white"/>
                </a:solidFill>
                <a:effectLst>
                  <a:outerShdw blurRad="38100" dist="38100" dir="2700000" algn="tl">
                    <a:srgbClr val="000000">
                      <a:alpha val="43137"/>
                    </a:srgbClr>
                  </a:outerShdw>
                </a:effectLst>
                <a:latin typeface="Trebuchet MS" panose="020B0603020202020204" pitchFamily="34" charset="0"/>
              </a:rPr>
              <a:t>Transpetro</a:t>
            </a:r>
            <a:endParaRPr lang="pt-BR" sz="1400" b="1" dirty="0">
              <a:solidFill>
                <a:prstClr val="white"/>
              </a:solidFill>
              <a:effectLst>
                <a:outerShdw blurRad="38100" dist="38100" dir="2700000" algn="tl">
                  <a:srgbClr val="000000">
                    <a:alpha val="43137"/>
                  </a:srgbClr>
                </a:outerShdw>
              </a:effectLst>
              <a:latin typeface="Trebuchet MS" panose="020B0603020202020204" pitchFamily="34" charset="0"/>
            </a:endParaRPr>
          </a:p>
        </p:txBody>
      </p:sp>
      <p:sp>
        <p:nvSpPr>
          <p:cNvPr id="2" name="Elipse 1">
            <a:extLst>
              <a:ext uri="{FF2B5EF4-FFF2-40B4-BE49-F238E27FC236}">
                <a16:creationId xmlns:a16="http://schemas.microsoft.com/office/drawing/2014/main" id="{FBF04B63-BC2F-1436-03CB-91B26674B974}"/>
              </a:ext>
            </a:extLst>
          </p:cNvPr>
          <p:cNvSpPr/>
          <p:nvPr/>
        </p:nvSpPr>
        <p:spPr>
          <a:xfrm>
            <a:off x="11685200" y="6374990"/>
            <a:ext cx="398310" cy="398207"/>
          </a:xfrm>
          <a:prstGeom prst="ellipse">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800" b="1" dirty="0">
                <a:solidFill>
                  <a:srgbClr val="006199"/>
                </a:solidFill>
              </a:rPr>
              <a:t>P</a:t>
            </a:r>
          </a:p>
        </p:txBody>
      </p:sp>
      <p:pic>
        <p:nvPicPr>
          <p:cNvPr id="8" name="Imagem 7">
            <a:extLst>
              <a:ext uri="{FF2B5EF4-FFF2-40B4-BE49-F238E27FC236}">
                <a16:creationId xmlns:a16="http://schemas.microsoft.com/office/drawing/2014/main" id="{1A7870DF-42D1-E7F5-A460-2A511C816F32}"/>
              </a:ext>
            </a:extLst>
          </p:cNvPr>
          <p:cNvPicPr>
            <a:picLocks noChangeAspect="1"/>
          </p:cNvPicPr>
          <p:nvPr/>
        </p:nvPicPr>
        <p:blipFill>
          <a:blip r:embed="rId7"/>
          <a:stretch>
            <a:fillRect/>
          </a:stretch>
        </p:blipFill>
        <p:spPr>
          <a:xfrm>
            <a:off x="213485" y="375835"/>
            <a:ext cx="1827223" cy="738665"/>
          </a:xfrm>
          <a:prstGeom prst="rect">
            <a:avLst/>
          </a:prstGeom>
        </p:spPr>
      </p:pic>
      <p:sp>
        <p:nvSpPr>
          <p:cNvPr id="12" name="object 2">
            <a:extLst>
              <a:ext uri="{FF2B5EF4-FFF2-40B4-BE49-F238E27FC236}">
                <a16:creationId xmlns:a16="http://schemas.microsoft.com/office/drawing/2014/main" id="{6D635E67-AA45-0E6A-2A6B-8D6505B03831}"/>
              </a:ext>
            </a:extLst>
          </p:cNvPr>
          <p:cNvSpPr txBox="1"/>
          <p:nvPr/>
        </p:nvSpPr>
        <p:spPr>
          <a:xfrm>
            <a:off x="-1" y="-265820"/>
            <a:ext cx="6441441" cy="3766843"/>
          </a:xfrm>
          <a:prstGeom prst="rect">
            <a:avLst/>
          </a:prstGeom>
        </p:spPr>
        <p:txBody>
          <a:bodyPr vert="horz" wrap="square" lIns="0" tIns="16933" rIns="0" bIns="0" rtlCol="0">
            <a:spAutoFit/>
          </a:bodyPr>
          <a:lstStyle>
            <a:defPPr>
              <a:defRPr lang="pt-BR"/>
            </a:defPPr>
            <a:lvl1pPr marR="0" lvl="0" indent="0" fontAlgn="auto">
              <a:lnSpc>
                <a:spcPct val="100000"/>
              </a:lnSpc>
              <a:spcBef>
                <a:spcPts val="133"/>
              </a:spcBef>
              <a:spcAft>
                <a:spcPts val="0"/>
              </a:spcAft>
              <a:buClrTx/>
              <a:buSzTx/>
              <a:buFontTx/>
              <a:buNone/>
              <a:tabLst/>
              <a:defRPr sz="2800" b="1" i="0">
                <a:solidFill>
                  <a:prstClr val="black">
                    <a:lumMod val="75000"/>
                    <a:lumOff val="25000"/>
                  </a:prstClr>
                </a:solidFill>
                <a:latin typeface="Open Sans" panose="020B0606030504020204" pitchFamily="34" charset="0"/>
                <a:ea typeface="Open Sans" panose="020B0606030504020204" pitchFamily="34" charset="0"/>
                <a:cs typeface="Open Sans" panose="020B0606030504020204" pitchFamily="34" charset="0"/>
              </a:defRPr>
            </a:lvl1pPr>
          </a:lstStyle>
          <a:p>
            <a:pPr algn="ctr" defTabSz="914332">
              <a:spcBef>
                <a:spcPts val="177"/>
              </a:spcBef>
              <a:defRPr/>
            </a:pPr>
            <a:endParaRPr lang="pt-BR" dirty="0">
              <a:solidFill>
                <a:prstClr val="white"/>
              </a:solidFill>
              <a:latin typeface="Calibri" panose="020F0502020204030204" pitchFamily="34" charset="0"/>
              <a:ea typeface="Calibri" panose="020F0502020204030204" pitchFamily="34" charset="0"/>
              <a:cs typeface="Calibri" panose="020F0502020204030204" pitchFamily="34" charset="0"/>
            </a:endParaRPr>
          </a:p>
          <a:p>
            <a:pPr algn="ctr" defTabSz="914332">
              <a:spcBef>
                <a:spcPts val="177"/>
              </a:spcBef>
              <a:defRPr/>
            </a:pPr>
            <a:endParaRPr lang="pt-BR" dirty="0">
              <a:solidFill>
                <a:prstClr val="white"/>
              </a:solidFill>
              <a:latin typeface="Calibri" panose="020F0502020204030204" pitchFamily="34" charset="0"/>
              <a:ea typeface="Calibri" panose="020F0502020204030204" pitchFamily="34" charset="0"/>
              <a:cs typeface="Calibri" panose="020F0502020204030204" pitchFamily="34" charset="0"/>
            </a:endParaRPr>
          </a:p>
          <a:p>
            <a:pPr algn="ctr" defTabSz="914332">
              <a:spcBef>
                <a:spcPts val="177"/>
              </a:spcBef>
              <a:defRPr/>
            </a:pPr>
            <a:endParaRPr lang="pt-BR" dirty="0">
              <a:solidFill>
                <a:prstClr val="white"/>
              </a:solidFill>
              <a:latin typeface="Calibri" panose="020F0502020204030204" pitchFamily="34" charset="0"/>
              <a:ea typeface="Calibri" panose="020F0502020204030204" pitchFamily="34" charset="0"/>
              <a:cs typeface="Calibri" panose="020F0502020204030204" pitchFamily="34" charset="0"/>
            </a:endParaRPr>
          </a:p>
          <a:p>
            <a:pPr algn="ctr" defTabSz="914332">
              <a:spcBef>
                <a:spcPts val="177"/>
              </a:spcBef>
              <a:defRPr/>
            </a:pPr>
            <a:endParaRPr lang="pt-BR" dirty="0">
              <a:solidFill>
                <a:prstClr val="white"/>
              </a:solidFill>
              <a:latin typeface="Calibri" panose="020F0502020204030204" pitchFamily="34" charset="0"/>
              <a:ea typeface="Calibri" panose="020F0502020204030204" pitchFamily="34" charset="0"/>
              <a:cs typeface="Calibri" panose="020F0502020204030204" pitchFamily="34" charset="0"/>
            </a:endParaRPr>
          </a:p>
          <a:p>
            <a:pPr algn="ctr" defTabSz="914332">
              <a:spcBef>
                <a:spcPts val="177"/>
              </a:spcBef>
              <a:defRPr/>
            </a:pPr>
            <a:r>
              <a:rPr lang="en-US" dirty="0">
                <a:solidFill>
                  <a:prstClr val="white"/>
                </a:solidFill>
                <a:latin typeface="Calibri" panose="020F0502020204030204" pitchFamily="34" charset="0"/>
                <a:ea typeface="Calibri" panose="020F0502020204030204" pitchFamily="34" charset="0"/>
                <a:cs typeface="Calibri" panose="020F0502020204030204" pitchFamily="34" charset="0"/>
              </a:rPr>
              <a:t>The new world order and legal aspects: </a:t>
            </a:r>
          </a:p>
          <a:p>
            <a:pPr algn="ctr" defTabSz="914332">
              <a:spcBef>
                <a:spcPts val="177"/>
              </a:spcBef>
              <a:defRPr/>
            </a:pPr>
            <a:r>
              <a:rPr lang="en-US" i="1" dirty="0">
                <a:solidFill>
                  <a:srgbClr val="CCFF33"/>
                </a:solidFill>
                <a:latin typeface="Calibri" panose="020F0502020204030204" pitchFamily="34" charset="0"/>
                <a:ea typeface="Calibri" panose="020F0502020204030204" pitchFamily="34" charset="0"/>
                <a:cs typeface="Calibri" panose="020F0502020204030204" pitchFamily="34" charset="0"/>
              </a:rPr>
              <a:t>The importance of international </a:t>
            </a:r>
          </a:p>
          <a:p>
            <a:pPr algn="ctr" defTabSz="914332">
              <a:spcBef>
                <a:spcPts val="177"/>
              </a:spcBef>
              <a:defRPr/>
            </a:pPr>
            <a:r>
              <a:rPr lang="en-US" i="1" dirty="0">
                <a:solidFill>
                  <a:srgbClr val="CCFF33"/>
                </a:solidFill>
                <a:latin typeface="Calibri" panose="020F0502020204030204" pitchFamily="34" charset="0"/>
                <a:ea typeface="Calibri" panose="020F0502020204030204" pitchFamily="34" charset="0"/>
                <a:cs typeface="Calibri" panose="020F0502020204030204" pitchFamily="34" charset="0"/>
              </a:rPr>
              <a:t>conventions for Brazil </a:t>
            </a:r>
          </a:p>
          <a:p>
            <a:pPr algn="ctr" defTabSz="914332">
              <a:spcBef>
                <a:spcPts val="177"/>
              </a:spcBef>
              <a:defRPr/>
            </a:pPr>
            <a:endParaRPr lang="pt-BR" dirty="0">
              <a:solidFill>
                <a:prstClr val="white"/>
              </a:solidFill>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4164859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Imagem 28">
            <a:extLst>
              <a:ext uri="{FF2B5EF4-FFF2-40B4-BE49-F238E27FC236}">
                <a16:creationId xmlns:a16="http://schemas.microsoft.com/office/drawing/2014/main" id="{C99C343B-4939-4FFC-BCA0-C037F1C59A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743" y="-34272"/>
            <a:ext cx="12199487" cy="6926544"/>
          </a:xfrm>
          <a:prstGeom prst="rect">
            <a:avLst/>
          </a:prstGeom>
        </p:spPr>
      </p:pic>
      <p:grpSp>
        <p:nvGrpSpPr>
          <p:cNvPr id="11" name="Agrupar 10">
            <a:extLst>
              <a:ext uri="{FF2B5EF4-FFF2-40B4-BE49-F238E27FC236}">
                <a16:creationId xmlns:a16="http://schemas.microsoft.com/office/drawing/2014/main" id="{6EE8A9D5-581E-1B4B-DD98-6D490B1019EB}"/>
              </a:ext>
            </a:extLst>
          </p:cNvPr>
          <p:cNvGrpSpPr/>
          <p:nvPr/>
        </p:nvGrpSpPr>
        <p:grpSpPr>
          <a:xfrm>
            <a:off x="0" y="2"/>
            <a:ext cx="8009861" cy="1460403"/>
            <a:chOff x="0" y="0"/>
            <a:chExt cx="5232400" cy="2707563"/>
          </a:xfrm>
        </p:grpSpPr>
        <p:pic>
          <p:nvPicPr>
            <p:cNvPr id="13" name="Imagem 12">
              <a:extLst>
                <a:ext uri="{FF2B5EF4-FFF2-40B4-BE49-F238E27FC236}">
                  <a16:creationId xmlns:a16="http://schemas.microsoft.com/office/drawing/2014/main" id="{FBA66FB6-8BAA-5766-211B-53DE7834F8C2}"/>
                </a:ext>
              </a:extLst>
            </p:cNvPr>
            <p:cNvPicPr>
              <a:picLocks noChangeAspect="1"/>
            </p:cNvPicPr>
            <p:nvPr/>
          </p:nvPicPr>
          <p:blipFill>
            <a:blip r:embed="rId3">
              <a:alphaModFix amt="83000"/>
            </a:blip>
            <a:stretch>
              <a:fillRect/>
            </a:stretch>
          </p:blipFill>
          <p:spPr>
            <a:xfrm>
              <a:off x="0" y="0"/>
              <a:ext cx="5232400" cy="2554363"/>
            </a:xfrm>
            <a:prstGeom prst="rect">
              <a:avLst/>
            </a:prstGeom>
          </p:spPr>
        </p:pic>
        <p:pic>
          <p:nvPicPr>
            <p:cNvPr id="14" name="Imagem 13">
              <a:extLst>
                <a:ext uri="{FF2B5EF4-FFF2-40B4-BE49-F238E27FC236}">
                  <a16:creationId xmlns:a16="http://schemas.microsoft.com/office/drawing/2014/main" id="{7D4DE255-D5DC-0F7F-9E87-997C8F10276B}"/>
                </a:ext>
              </a:extLst>
            </p:cNvPr>
            <p:cNvPicPr>
              <a:picLocks noChangeAspect="1"/>
            </p:cNvPicPr>
            <p:nvPr/>
          </p:nvPicPr>
          <p:blipFill>
            <a:blip r:embed="rId4"/>
            <a:stretch>
              <a:fillRect/>
            </a:stretch>
          </p:blipFill>
          <p:spPr>
            <a:xfrm>
              <a:off x="0" y="0"/>
              <a:ext cx="5142016" cy="2707563"/>
            </a:xfrm>
            <a:prstGeom prst="rect">
              <a:avLst/>
            </a:prstGeom>
          </p:spPr>
        </p:pic>
      </p:grpSp>
      <p:sp>
        <p:nvSpPr>
          <p:cNvPr id="17" name="object 2">
            <a:extLst>
              <a:ext uri="{FF2B5EF4-FFF2-40B4-BE49-F238E27FC236}">
                <a16:creationId xmlns:a16="http://schemas.microsoft.com/office/drawing/2014/main" id="{9A6DD1AD-3608-44FE-B72B-04E61ED75E3A}"/>
              </a:ext>
            </a:extLst>
          </p:cNvPr>
          <p:cNvSpPr txBox="1"/>
          <p:nvPr/>
        </p:nvSpPr>
        <p:spPr>
          <a:xfrm>
            <a:off x="322217" y="172637"/>
            <a:ext cx="6780899" cy="746440"/>
          </a:xfrm>
          <a:prstGeom prst="rect">
            <a:avLst/>
          </a:prstGeom>
        </p:spPr>
        <p:txBody>
          <a:bodyPr vert="horz" wrap="square" lIns="0" tIns="7701" rIns="0" bIns="0" rtlCol="0">
            <a:spAutoFit/>
          </a:bodyPr>
          <a:lstStyle/>
          <a:p>
            <a:pPr defTabSz="914354">
              <a:spcBef>
                <a:spcPts val="133"/>
              </a:spcBef>
            </a:pPr>
            <a:r>
              <a:rPr lang="en-US" sz="2400" b="1" dirty="0">
                <a:solidFill>
                  <a:prstClr val="white"/>
                </a:solidFill>
                <a:effectLst>
                  <a:outerShdw blurRad="38100" dist="38100" dir="2700000" algn="tl">
                    <a:srgbClr val="000000">
                      <a:alpha val="43137"/>
                    </a:srgbClr>
                  </a:outerShdw>
                </a:effectLst>
                <a:latin typeface="Trebuchet MS" panose="020B0603020202020204"/>
              </a:rPr>
              <a:t>DECARBONIZATION PROJECTS FOR TRANSPETRO TERMINALS</a:t>
            </a:r>
            <a:endParaRPr lang="pt-BR" sz="2400" b="1" dirty="0">
              <a:solidFill>
                <a:prstClr val="white"/>
              </a:solidFill>
              <a:effectLst>
                <a:outerShdw blurRad="38100" dist="38100" dir="2700000" algn="tl">
                  <a:srgbClr val="000000">
                    <a:alpha val="43137"/>
                  </a:srgbClr>
                </a:outerShdw>
              </a:effectLst>
              <a:latin typeface="Trebuchet MS" panose="020B0703020202090204" pitchFamily="34" charset="0"/>
            </a:endParaRPr>
          </a:p>
        </p:txBody>
      </p:sp>
      <p:sp>
        <p:nvSpPr>
          <p:cNvPr id="18" name="object 2">
            <a:extLst>
              <a:ext uri="{FF2B5EF4-FFF2-40B4-BE49-F238E27FC236}">
                <a16:creationId xmlns:a16="http://schemas.microsoft.com/office/drawing/2014/main" id="{AE1B0385-661C-4EE1-8375-89A44BC40BC7}"/>
              </a:ext>
            </a:extLst>
          </p:cNvPr>
          <p:cNvSpPr txBox="1"/>
          <p:nvPr/>
        </p:nvSpPr>
        <p:spPr>
          <a:xfrm>
            <a:off x="322217" y="713884"/>
            <a:ext cx="667933" cy="580241"/>
          </a:xfrm>
          <a:prstGeom prst="rect">
            <a:avLst/>
          </a:prstGeom>
        </p:spPr>
        <p:txBody>
          <a:bodyPr vert="horz" wrap="square" lIns="0" tIns="7701" rIns="0" bIns="0" rtlCol="0">
            <a:spAutoFit/>
          </a:bodyPr>
          <a:lstStyle/>
          <a:p>
            <a:pPr marR="3080" defTabSz="554478">
              <a:lnSpc>
                <a:spcPct val="93000"/>
              </a:lnSpc>
            </a:pPr>
            <a:r>
              <a:rPr lang="pt-BR" sz="4000" b="1" dirty="0">
                <a:solidFill>
                  <a:srgbClr val="FDC82F"/>
                </a:solidFill>
                <a:latin typeface="Trebuchet MS" panose="020B0703020202090204" pitchFamily="34" charset="0"/>
                <a:cs typeface="Trebuchet MS"/>
              </a:rPr>
              <a:t>—</a:t>
            </a:r>
            <a:endParaRPr sz="4000" b="1" dirty="0">
              <a:solidFill>
                <a:srgbClr val="FDC82F"/>
              </a:solidFill>
              <a:latin typeface="Trebuchet MS" panose="020B0703020202090204" pitchFamily="34" charset="0"/>
              <a:cs typeface="Trebuchet MS"/>
            </a:endParaRPr>
          </a:p>
        </p:txBody>
      </p:sp>
      <p:sp>
        <p:nvSpPr>
          <p:cNvPr id="15" name="Retângulo: Cantos Arredondados 14">
            <a:extLst>
              <a:ext uri="{FF2B5EF4-FFF2-40B4-BE49-F238E27FC236}">
                <a16:creationId xmlns:a16="http://schemas.microsoft.com/office/drawing/2014/main" id="{1248C402-D40E-4A51-81FD-3E30F2CB7647}"/>
              </a:ext>
            </a:extLst>
          </p:cNvPr>
          <p:cNvSpPr/>
          <p:nvPr/>
        </p:nvSpPr>
        <p:spPr>
          <a:xfrm>
            <a:off x="8292387" y="335194"/>
            <a:ext cx="3577396" cy="958931"/>
          </a:xfrm>
          <a:prstGeom prst="roundRect">
            <a:avLst/>
          </a:prstGeom>
          <a:solidFill>
            <a:srgbClr val="37B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pt-BR" sz="2400" dirty="0">
              <a:solidFill>
                <a:prstClr val="white"/>
              </a:solidFill>
              <a:latin typeface="Trebuchet MS" panose="020B0603020202020204" pitchFamily="34" charset="0"/>
              <a:ea typeface="Tahoma" panose="020B0604030504040204" pitchFamily="34" charset="0"/>
              <a:cs typeface="Tahoma" panose="020B0604030504040204" pitchFamily="34" charset="0"/>
            </a:endParaRPr>
          </a:p>
        </p:txBody>
      </p:sp>
      <p:sp>
        <p:nvSpPr>
          <p:cNvPr id="16" name="Retângulo 15">
            <a:extLst>
              <a:ext uri="{FF2B5EF4-FFF2-40B4-BE49-F238E27FC236}">
                <a16:creationId xmlns:a16="http://schemas.microsoft.com/office/drawing/2014/main" id="{DD19C6EF-6D37-4C34-9A23-13E2F968B76F}"/>
              </a:ext>
            </a:extLst>
          </p:cNvPr>
          <p:cNvSpPr/>
          <p:nvPr/>
        </p:nvSpPr>
        <p:spPr>
          <a:xfrm>
            <a:off x="8456002" y="438181"/>
            <a:ext cx="3254678" cy="748795"/>
          </a:xfrm>
          <a:prstGeom prst="rect">
            <a:avLst/>
          </a:prstGeom>
        </p:spPr>
        <p:txBody>
          <a:bodyPr wrap="square">
            <a:spAutoFit/>
          </a:bodyPr>
          <a:lstStyle/>
          <a:p>
            <a:pPr algn="ctr"/>
            <a:r>
              <a:rPr lang="en-US" sz="2133" b="1" i="1" dirty="0">
                <a:solidFill>
                  <a:schemeClr val="bg1"/>
                </a:solidFill>
              </a:rPr>
              <a:t>STUDY AND IMPLEMENTATION PLAN</a:t>
            </a:r>
            <a:endParaRPr lang="pt-BR" sz="2133" dirty="0"/>
          </a:p>
        </p:txBody>
      </p:sp>
      <p:pic>
        <p:nvPicPr>
          <p:cNvPr id="20" name="Picture 2" descr="Terminal da Transpetro em Guarulhos — Foto: Divulgação">
            <a:extLst>
              <a:ext uri="{FF2B5EF4-FFF2-40B4-BE49-F238E27FC236}">
                <a16:creationId xmlns:a16="http://schemas.microsoft.com/office/drawing/2014/main" id="{1CEB688D-6B5B-4087-B689-8188EC287F9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78207" y="3841322"/>
            <a:ext cx="5218387" cy="1326783"/>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23" name="Picture 4" descr="What is Alternate Marine Power (AMP) or Cold Ironing?">
            <a:extLst>
              <a:ext uri="{FF2B5EF4-FFF2-40B4-BE49-F238E27FC236}">
                <a16:creationId xmlns:a16="http://schemas.microsoft.com/office/drawing/2014/main" id="{9709B59E-5548-43C4-979A-5F48823B2CF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201787" y="1611166"/>
            <a:ext cx="4508893" cy="2255372"/>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24" name="Picture 6" descr="Shore-Side Electricity">
            <a:extLst>
              <a:ext uri="{FF2B5EF4-FFF2-40B4-BE49-F238E27FC236}">
                <a16:creationId xmlns:a16="http://schemas.microsoft.com/office/drawing/2014/main" id="{068E3E1B-0FD3-4791-9623-685A912851E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221288" y="4183579"/>
            <a:ext cx="4489393" cy="2126512"/>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25" name="Retângulo 24">
            <a:extLst>
              <a:ext uri="{FF2B5EF4-FFF2-40B4-BE49-F238E27FC236}">
                <a16:creationId xmlns:a16="http://schemas.microsoft.com/office/drawing/2014/main" id="{29B37090-BF3C-49B2-A26C-E3C323615F0E}"/>
              </a:ext>
            </a:extLst>
          </p:cNvPr>
          <p:cNvSpPr/>
          <p:nvPr/>
        </p:nvSpPr>
        <p:spPr>
          <a:xfrm>
            <a:off x="209013" y="2076736"/>
            <a:ext cx="6629401" cy="1733295"/>
          </a:xfrm>
          <a:prstGeom prst="rect">
            <a:avLst/>
          </a:prstGeom>
        </p:spPr>
        <p:txBody>
          <a:bodyPr wrap="square">
            <a:spAutoFit/>
          </a:bodyPr>
          <a:lstStyle/>
          <a:p>
            <a:pPr algn="just" defTabSz="914377"/>
            <a:r>
              <a:rPr lang="pt-BR" sz="1333" dirty="0">
                <a:solidFill>
                  <a:prstClr val="black"/>
                </a:solidFill>
                <a:latin typeface="Trebuchet MS" panose="020B0603020202020204"/>
              </a:rPr>
              <a:t>- Transpetro </a:t>
            </a:r>
            <a:r>
              <a:rPr lang="pt-BR" sz="1333" dirty="0" err="1">
                <a:solidFill>
                  <a:prstClr val="black"/>
                </a:solidFill>
                <a:latin typeface="Trebuchet MS" panose="020B0603020202020204"/>
              </a:rPr>
              <a:t>already</a:t>
            </a:r>
            <a:r>
              <a:rPr lang="pt-BR" sz="1333" dirty="0">
                <a:solidFill>
                  <a:prstClr val="black"/>
                </a:solidFill>
                <a:latin typeface="Trebuchet MS" panose="020B0603020202020204"/>
              </a:rPr>
              <a:t> </a:t>
            </a:r>
            <a:r>
              <a:rPr lang="pt-BR" sz="1333" dirty="0" err="1">
                <a:solidFill>
                  <a:prstClr val="black"/>
                </a:solidFill>
                <a:latin typeface="Trebuchet MS" panose="020B0603020202020204"/>
              </a:rPr>
              <a:t>implemented</a:t>
            </a:r>
            <a:r>
              <a:rPr lang="pt-BR" sz="1333" dirty="0">
                <a:solidFill>
                  <a:prstClr val="black"/>
                </a:solidFill>
                <a:latin typeface="Trebuchet MS" panose="020B0603020202020204"/>
              </a:rPr>
              <a:t> a</a:t>
            </a:r>
            <a:r>
              <a:rPr lang="en-US" sz="1333" dirty="0">
                <a:solidFill>
                  <a:prstClr val="black"/>
                </a:solidFill>
                <a:latin typeface="Trebuchet MS" panose="020B0603020202020204"/>
              </a:rPr>
              <a:t> </a:t>
            </a:r>
            <a:r>
              <a:rPr lang="en-US" sz="1333" b="1" dirty="0">
                <a:solidFill>
                  <a:srgbClr val="008542"/>
                </a:solidFill>
                <a:latin typeface="Trebuchet MS" panose="020B0603020202020204"/>
              </a:rPr>
              <a:t>plant of solar energy </a:t>
            </a:r>
            <a:r>
              <a:rPr lang="en-US" sz="1333" dirty="0">
                <a:solidFill>
                  <a:prstClr val="black"/>
                </a:solidFill>
                <a:latin typeface="Trebuchet MS" panose="020B0603020202020204"/>
              </a:rPr>
              <a:t>in order to ensure 100% power supply for the Guarulhos Terminal (SP) and Belem (PA). This project will allow the generation of 4.1 million megawatt hours. The plan involved the installation of more than 5 thousand solar panels in an area of 26,000 m</a:t>
            </a:r>
            <a:r>
              <a:rPr lang="en-US" sz="1333" baseline="30000" dirty="0">
                <a:solidFill>
                  <a:prstClr val="black"/>
                </a:solidFill>
                <a:latin typeface="Trebuchet MS" panose="020B0603020202020204"/>
              </a:rPr>
              <a:t>2</a:t>
            </a:r>
            <a:r>
              <a:rPr lang="en-US" sz="1333" dirty="0">
                <a:solidFill>
                  <a:prstClr val="black"/>
                </a:solidFill>
                <a:latin typeface="Trebuchet MS" panose="020B0603020202020204"/>
              </a:rPr>
              <a:t>.</a:t>
            </a:r>
          </a:p>
          <a:p>
            <a:pPr marL="285744" indent="-285744" algn="just" defTabSz="914377">
              <a:buFont typeface="Wingdings" panose="05000000000000000000" pitchFamily="2" charset="2"/>
              <a:buChar char="§"/>
            </a:pPr>
            <a:endParaRPr lang="en-US" sz="1333" dirty="0">
              <a:solidFill>
                <a:prstClr val="black"/>
              </a:solidFill>
              <a:latin typeface="Trebuchet MS" panose="020B0603020202020204"/>
            </a:endParaRPr>
          </a:p>
          <a:p>
            <a:pPr algn="just" defTabSz="914377"/>
            <a:r>
              <a:rPr lang="pt-BR" sz="1333" dirty="0">
                <a:solidFill>
                  <a:prstClr val="black"/>
                </a:solidFill>
                <a:latin typeface="Trebuchet MS" panose="020B0603020202020204"/>
              </a:rPr>
              <a:t>- Transpetro </a:t>
            </a:r>
            <a:r>
              <a:rPr lang="pt-BR" sz="1333" dirty="0" err="1">
                <a:solidFill>
                  <a:prstClr val="black"/>
                </a:solidFill>
                <a:latin typeface="Trebuchet MS" panose="020B0603020202020204"/>
              </a:rPr>
              <a:t>also</a:t>
            </a:r>
            <a:r>
              <a:rPr lang="pt-BR" sz="1333" dirty="0">
                <a:solidFill>
                  <a:prstClr val="black"/>
                </a:solidFill>
                <a:latin typeface="Trebuchet MS" panose="020B0603020202020204"/>
              </a:rPr>
              <a:t> </a:t>
            </a:r>
            <a:r>
              <a:rPr lang="pt-BR" sz="1333" dirty="0" err="1">
                <a:solidFill>
                  <a:prstClr val="black"/>
                </a:solidFill>
                <a:latin typeface="Trebuchet MS" panose="020B0603020202020204"/>
              </a:rPr>
              <a:t>started</a:t>
            </a:r>
            <a:r>
              <a:rPr lang="pt-BR" sz="1333" dirty="0">
                <a:solidFill>
                  <a:prstClr val="black"/>
                </a:solidFill>
                <a:latin typeface="Trebuchet MS" panose="020B0603020202020204"/>
              </a:rPr>
              <a:t> </a:t>
            </a:r>
            <a:r>
              <a:rPr lang="pt-BR" sz="1333" dirty="0" err="1">
                <a:solidFill>
                  <a:prstClr val="black"/>
                </a:solidFill>
                <a:latin typeface="Trebuchet MS" panose="020B0603020202020204"/>
              </a:rPr>
              <a:t>to</a:t>
            </a:r>
            <a:r>
              <a:rPr lang="pt-BR" sz="1333" dirty="0">
                <a:solidFill>
                  <a:prstClr val="black"/>
                </a:solidFill>
                <a:latin typeface="Trebuchet MS" panose="020B0603020202020204"/>
              </a:rPr>
              <a:t> </a:t>
            </a:r>
            <a:r>
              <a:rPr lang="pt-BR" sz="1333" dirty="0" err="1">
                <a:solidFill>
                  <a:prstClr val="black"/>
                </a:solidFill>
                <a:latin typeface="Trebuchet MS" panose="020B0603020202020204"/>
              </a:rPr>
              <a:t>study</a:t>
            </a:r>
            <a:r>
              <a:rPr lang="pt-BR" sz="1333" dirty="0">
                <a:solidFill>
                  <a:prstClr val="black"/>
                </a:solidFill>
                <a:latin typeface="Trebuchet MS" panose="020B0603020202020204"/>
              </a:rPr>
              <a:t> </a:t>
            </a:r>
            <a:r>
              <a:rPr lang="pt-BR" sz="1333" dirty="0" err="1">
                <a:solidFill>
                  <a:prstClr val="black"/>
                </a:solidFill>
                <a:latin typeface="Trebuchet MS" panose="020B0603020202020204"/>
              </a:rPr>
              <a:t>instalation</a:t>
            </a:r>
            <a:r>
              <a:rPr lang="pt-BR" sz="1333" dirty="0">
                <a:solidFill>
                  <a:prstClr val="black"/>
                </a:solidFill>
                <a:latin typeface="Trebuchet MS" panose="020B0603020202020204"/>
              </a:rPr>
              <a:t> </a:t>
            </a:r>
            <a:r>
              <a:rPr lang="pt-BR" sz="1333" dirty="0" err="1">
                <a:solidFill>
                  <a:prstClr val="black"/>
                </a:solidFill>
                <a:latin typeface="Trebuchet MS" panose="020B0603020202020204"/>
              </a:rPr>
              <a:t>of</a:t>
            </a:r>
            <a:r>
              <a:rPr lang="pt-BR" sz="1333" dirty="0">
                <a:solidFill>
                  <a:prstClr val="black"/>
                </a:solidFill>
                <a:latin typeface="Trebuchet MS" panose="020B0603020202020204"/>
              </a:rPr>
              <a:t> </a:t>
            </a:r>
            <a:r>
              <a:rPr lang="en-US" sz="1333" b="1" dirty="0">
                <a:solidFill>
                  <a:srgbClr val="008542"/>
                </a:solidFill>
                <a:latin typeface="Trebuchet MS" panose="020B0603020202020204"/>
              </a:rPr>
              <a:t>Alternate Maritime Power or AMP </a:t>
            </a:r>
            <a:r>
              <a:rPr lang="en-US" sz="1333" dirty="0">
                <a:solidFill>
                  <a:prstClr val="black"/>
                </a:solidFill>
                <a:latin typeface="Trebuchet MS" panose="020B0603020202020204"/>
              </a:rPr>
              <a:t>which helps reducing air pollution generated from ship’s diesel generators by using shore electric power as a substitute.</a:t>
            </a:r>
          </a:p>
        </p:txBody>
      </p:sp>
      <p:pic>
        <p:nvPicPr>
          <p:cNvPr id="19" name="Imagem 18">
            <a:extLst>
              <a:ext uri="{FF2B5EF4-FFF2-40B4-BE49-F238E27FC236}">
                <a16:creationId xmlns:a16="http://schemas.microsoft.com/office/drawing/2014/main" id="{E136CFDC-75B1-4436-984C-185DF3A162C1}"/>
              </a:ext>
            </a:extLst>
          </p:cNvPr>
          <p:cNvPicPr>
            <a:picLocks noChangeAspect="1"/>
          </p:cNvPicPr>
          <p:nvPr/>
        </p:nvPicPr>
        <p:blipFill>
          <a:blip r:embed="rId8">
            <a:extLst>
              <a:ext uri="{28A0092B-C50C-407E-A947-70E740481C1C}">
                <a14:useLocalDpi xmlns:a14="http://schemas.microsoft.com/office/drawing/2010/main"/>
              </a:ext>
            </a:extLst>
          </a:blip>
          <a:srcRect/>
          <a:stretch/>
        </p:blipFill>
        <p:spPr>
          <a:xfrm>
            <a:off x="9642837" y="5510935"/>
            <a:ext cx="2549164" cy="1350515"/>
          </a:xfrm>
          <a:prstGeom prst="rect">
            <a:avLst/>
          </a:prstGeom>
        </p:spPr>
      </p:pic>
      <p:pic>
        <p:nvPicPr>
          <p:cNvPr id="2" name="Imagem 1">
            <a:extLst>
              <a:ext uri="{FF2B5EF4-FFF2-40B4-BE49-F238E27FC236}">
                <a16:creationId xmlns:a16="http://schemas.microsoft.com/office/drawing/2014/main" id="{6115AA25-40D7-DF99-86BF-1BCAFF283A29}"/>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425659" y="6389635"/>
            <a:ext cx="434355" cy="434355"/>
          </a:xfrm>
          <a:prstGeom prst="rect">
            <a:avLst/>
          </a:prstGeom>
        </p:spPr>
      </p:pic>
      <p:pic>
        <p:nvPicPr>
          <p:cNvPr id="1026" name="Picture 2">
            <a:extLst>
              <a:ext uri="{FF2B5EF4-FFF2-40B4-BE49-F238E27FC236}">
                <a16:creationId xmlns:a16="http://schemas.microsoft.com/office/drawing/2014/main" id="{38FC1A4D-8D85-4387-DDED-8B9E8BBC735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9922" y="5318866"/>
            <a:ext cx="2549164" cy="14339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15583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FE06DA-E1E4-0877-2B2A-6C30D9930259}"/>
            </a:ext>
          </a:extLst>
        </p:cNvPr>
        <p:cNvGrpSpPr/>
        <p:nvPr/>
      </p:nvGrpSpPr>
      <p:grpSpPr>
        <a:xfrm>
          <a:off x="0" y="0"/>
          <a:ext cx="0" cy="0"/>
          <a:chOff x="0" y="0"/>
          <a:chExt cx="0" cy="0"/>
        </a:xfrm>
      </p:grpSpPr>
      <p:pic>
        <p:nvPicPr>
          <p:cNvPr id="4" name="Imagem 3" descr="Texto&#10;&#10;O conteúdo gerado por IA pode estar incorreto.">
            <a:extLst>
              <a:ext uri="{FF2B5EF4-FFF2-40B4-BE49-F238E27FC236}">
                <a16:creationId xmlns:a16="http://schemas.microsoft.com/office/drawing/2014/main" id="{BF235363-5259-4FC3-4B17-86E70545E3D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1569" y="6224288"/>
            <a:ext cx="1775743" cy="425021"/>
          </a:xfrm>
          <a:prstGeom prst="rect">
            <a:avLst/>
          </a:prstGeom>
        </p:spPr>
      </p:pic>
      <p:pic>
        <p:nvPicPr>
          <p:cNvPr id="3" name="Imagem 2" descr="Uma imagem contendo Forma&#10;&#10;O conteúdo gerado por IA pode estar incorreto.">
            <a:extLst>
              <a:ext uri="{FF2B5EF4-FFF2-40B4-BE49-F238E27FC236}">
                <a16:creationId xmlns:a16="http://schemas.microsoft.com/office/drawing/2014/main" id="{7E9BB827-ABE5-218C-86B0-D6D79393D89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63494" y="4475018"/>
            <a:ext cx="1419393" cy="2382982"/>
          </a:xfrm>
          <a:prstGeom prst="rect">
            <a:avLst/>
          </a:prstGeom>
        </p:spPr>
      </p:pic>
      <p:sp>
        <p:nvSpPr>
          <p:cNvPr id="5" name="CaixaDeTexto 4">
            <a:extLst>
              <a:ext uri="{FF2B5EF4-FFF2-40B4-BE49-F238E27FC236}">
                <a16:creationId xmlns:a16="http://schemas.microsoft.com/office/drawing/2014/main" id="{7194D23F-C7DE-99F0-6C0C-200423714076}"/>
              </a:ext>
            </a:extLst>
          </p:cNvPr>
          <p:cNvSpPr txBox="1"/>
          <p:nvPr/>
        </p:nvSpPr>
        <p:spPr>
          <a:xfrm>
            <a:off x="336895" y="1281830"/>
            <a:ext cx="9264305" cy="3046988"/>
          </a:xfrm>
          <a:prstGeom prst="rect">
            <a:avLst/>
          </a:prstGeom>
          <a:noFill/>
        </p:spPr>
        <p:txBody>
          <a:bodyPr wrap="square">
            <a:spAutoFit/>
          </a:bodyPr>
          <a:lstStyle/>
          <a:p>
            <a:pPr marL="285750" indent="-285750" algn="just">
              <a:buFont typeface="Wingdings" panose="05000000000000000000" pitchFamily="2" charset="2"/>
              <a:buChar char="ü"/>
            </a:pPr>
            <a:r>
              <a:rPr lang="en-US" sz="1600" b="1" dirty="0">
                <a:latin typeface="Calibri" panose="020F0502020204030204" pitchFamily="34" charset="0"/>
                <a:ea typeface="Calibri" panose="020F0502020204030204" pitchFamily="34" charset="0"/>
                <a:cs typeface="Calibri" panose="020F0502020204030204" pitchFamily="34" charset="0"/>
              </a:rPr>
              <a:t>Despite Brazil's prominent position in the South American and global maritime context and its participation in the IMO Council, Group B, </a:t>
            </a:r>
            <a:r>
              <a:rPr lang="en-US" sz="1600" b="1" u="sng" dirty="0">
                <a:latin typeface="Calibri" panose="020F0502020204030204" pitchFamily="34" charset="0"/>
                <a:ea typeface="Calibri" panose="020F0502020204030204" pitchFamily="34" charset="0"/>
                <a:cs typeface="Calibri" panose="020F0502020204030204" pitchFamily="34" charset="0"/>
              </a:rPr>
              <a:t>it is necessary to improve adherence to and internalization of international treaties in the maritime field, such as the Athens Convention and the LLMC, the HNS Protocol 2010, the Hong Kong Convention, the CLC 92 and its Supplementary Fund;</a:t>
            </a:r>
          </a:p>
          <a:p>
            <a:pPr marL="285750" indent="-285750" algn="just">
              <a:buFont typeface="Wingdings" panose="05000000000000000000" pitchFamily="2" charset="2"/>
              <a:buChar char="ü"/>
            </a:pPr>
            <a:endParaRPr lang="en-US" sz="1600" b="1" dirty="0">
              <a:latin typeface="Calibri" panose="020F0502020204030204" pitchFamily="34" charset="0"/>
              <a:ea typeface="Calibri" panose="020F0502020204030204" pitchFamily="34" charset="0"/>
              <a:cs typeface="Calibri" panose="020F0502020204030204" pitchFamily="34" charset="0"/>
            </a:endParaRPr>
          </a:p>
          <a:p>
            <a:pPr marL="285750" indent="-285750" algn="just">
              <a:buFont typeface="Wingdings" panose="05000000000000000000" pitchFamily="2" charset="2"/>
              <a:buChar char="ü"/>
            </a:pPr>
            <a:r>
              <a:rPr lang="en-US" sz="1600" b="1" u="sng" dirty="0">
                <a:latin typeface="Calibri" panose="020F0502020204030204" pitchFamily="34" charset="0"/>
                <a:ea typeface="Calibri" panose="020F0502020204030204" pitchFamily="34" charset="0"/>
                <a:cs typeface="Calibri" panose="020F0502020204030204" pitchFamily="34" charset="0"/>
              </a:rPr>
              <a:t>The recent enactment of Decree 12481/2025, establishing the National Maritime Policy (PMN), stands out, reinforcing Brazil's commitment to strengthening its role as a relevant maritime actor on the international stage, especially in the South Atlantic. </a:t>
            </a:r>
            <a:r>
              <a:rPr lang="en-US" sz="1600" b="1" dirty="0">
                <a:latin typeface="Calibri" panose="020F0502020204030204" pitchFamily="34" charset="0"/>
                <a:ea typeface="Calibri" panose="020F0502020204030204" pitchFamily="34" charset="0"/>
                <a:cs typeface="Calibri" panose="020F0502020204030204" pitchFamily="34" charset="0"/>
              </a:rPr>
              <a:t>Article 5, paragraph II, subparagraphs b and c, establishes among its objectives "proactive national action in international organizations and forums related to maritime, marine, and river-lacustrine issues," as well as "strengthening cooperation for the benefit of maritime security, especially with the states bordering the South Atlantic."</a:t>
            </a:r>
          </a:p>
          <a:p>
            <a:pPr marL="285750" indent="-285750" algn="just">
              <a:buFont typeface="Wingdings" panose="05000000000000000000" pitchFamily="2" charset="2"/>
              <a:buChar char="ü"/>
            </a:pPr>
            <a:endParaRPr lang="en-US" sz="1600" b="1"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6" descr="Nova Política Marítima Nacional busca integrar políticas relacionadas ao  uso do mar Grupo de Trabalho Interministerial é coordenado pela Marinha do  Brasil | Marinha do Brasil">
            <a:extLst>
              <a:ext uri="{FF2B5EF4-FFF2-40B4-BE49-F238E27FC236}">
                <a16:creationId xmlns:a16="http://schemas.microsoft.com/office/drawing/2014/main" id="{3E42AC9E-C942-BA2E-14F6-EB8BB84697F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889067" y="1281830"/>
            <a:ext cx="2099257" cy="148110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Related">
            <a:extLst>
              <a:ext uri="{FF2B5EF4-FFF2-40B4-BE49-F238E27FC236}">
                <a16:creationId xmlns:a16="http://schemas.microsoft.com/office/drawing/2014/main" id="{51EC52CD-B033-E1AA-CCCF-34013D95F4C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889067" y="3734466"/>
            <a:ext cx="2099257" cy="1481103"/>
          </a:xfrm>
          <a:prstGeom prst="rect">
            <a:avLst/>
          </a:prstGeom>
          <a:noFill/>
          <a:extLst>
            <a:ext uri="{909E8E84-426E-40DD-AFC4-6F175D3DCCD1}">
              <a14:hiddenFill xmlns:a14="http://schemas.microsoft.com/office/drawing/2010/main">
                <a:solidFill>
                  <a:srgbClr val="FFFFFF"/>
                </a:solidFill>
              </a14:hiddenFill>
            </a:ext>
          </a:extLst>
        </p:spPr>
      </p:pic>
      <p:sp>
        <p:nvSpPr>
          <p:cNvPr id="2" name="Elipse 1">
            <a:extLst>
              <a:ext uri="{FF2B5EF4-FFF2-40B4-BE49-F238E27FC236}">
                <a16:creationId xmlns:a16="http://schemas.microsoft.com/office/drawing/2014/main" id="{F4D78DB4-AECC-AD14-F59F-994C36DA0A79}"/>
              </a:ext>
            </a:extLst>
          </p:cNvPr>
          <p:cNvSpPr/>
          <p:nvPr/>
        </p:nvSpPr>
        <p:spPr>
          <a:xfrm>
            <a:off x="11685200" y="6374990"/>
            <a:ext cx="398310" cy="398207"/>
          </a:xfrm>
          <a:prstGeom prst="ellipse">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800" b="1" dirty="0">
                <a:solidFill>
                  <a:srgbClr val="006199"/>
                </a:solidFill>
              </a:rPr>
              <a:t>P</a:t>
            </a:r>
          </a:p>
        </p:txBody>
      </p:sp>
      <p:sp>
        <p:nvSpPr>
          <p:cNvPr id="8" name="CaixaDeTexto 7">
            <a:extLst>
              <a:ext uri="{FF2B5EF4-FFF2-40B4-BE49-F238E27FC236}">
                <a16:creationId xmlns:a16="http://schemas.microsoft.com/office/drawing/2014/main" id="{3306B91A-6F97-86D1-006C-B6B0DAB55E41}"/>
              </a:ext>
            </a:extLst>
          </p:cNvPr>
          <p:cNvSpPr txBox="1"/>
          <p:nvPr/>
        </p:nvSpPr>
        <p:spPr>
          <a:xfrm>
            <a:off x="336895" y="343109"/>
            <a:ext cx="9091711" cy="461665"/>
          </a:xfrm>
          <a:prstGeom prst="rect">
            <a:avLst/>
          </a:prstGeom>
          <a:noFill/>
        </p:spPr>
        <p:txBody>
          <a:bodyPr wrap="square">
            <a:spAutoFit/>
          </a:bodyPr>
          <a:lstStyle/>
          <a:p>
            <a:pPr marL="0" marR="0" lvl="0" indent="0" algn="l" defTabSz="1218832"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8542"/>
                </a:solidFill>
                <a:effectLst/>
                <a:uLnTx/>
                <a:uFillTx/>
                <a:latin typeface="Trebuchet MS" panose="020B0703020202090204" pitchFamily="34" charset="0"/>
                <a:ea typeface="+mn-ea"/>
                <a:cs typeface="+mn-cs"/>
              </a:rPr>
              <a:t>CONCLUSIONS – WHY SHOLD WE SIGN CLC 92</a:t>
            </a:r>
          </a:p>
        </p:txBody>
      </p:sp>
      <p:sp>
        <p:nvSpPr>
          <p:cNvPr id="10" name="Retângulo 9">
            <a:extLst>
              <a:ext uri="{FF2B5EF4-FFF2-40B4-BE49-F238E27FC236}">
                <a16:creationId xmlns:a16="http://schemas.microsoft.com/office/drawing/2014/main" id="{EE3D1DD6-8F15-4977-1641-8B7A3BF30F96}"/>
              </a:ext>
            </a:extLst>
          </p:cNvPr>
          <p:cNvSpPr/>
          <p:nvPr/>
        </p:nvSpPr>
        <p:spPr>
          <a:xfrm>
            <a:off x="419378" y="848159"/>
            <a:ext cx="420421" cy="41563"/>
          </a:xfrm>
          <a:prstGeom prst="rect">
            <a:avLst/>
          </a:prstGeom>
          <a:solidFill>
            <a:srgbClr val="FDC6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Trebuchet MS" panose="020B0703020202090204" pitchFamily="34" charset="0"/>
              <a:ea typeface="+mn-ea"/>
              <a:cs typeface="+mn-cs"/>
            </a:endParaRPr>
          </a:p>
        </p:txBody>
      </p:sp>
    </p:spTree>
    <p:extLst>
      <p:ext uri="{BB962C8B-B14F-4D97-AF65-F5344CB8AC3E}">
        <p14:creationId xmlns:p14="http://schemas.microsoft.com/office/powerpoint/2010/main" val="3120334944"/>
      </p:ext>
    </p:extLst>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567933-3FCB-0F1B-3DBE-5791DB54A8CE}"/>
            </a:ext>
          </a:extLst>
        </p:cNvPr>
        <p:cNvGrpSpPr/>
        <p:nvPr/>
      </p:nvGrpSpPr>
      <p:grpSpPr>
        <a:xfrm>
          <a:off x="0" y="0"/>
          <a:ext cx="0" cy="0"/>
          <a:chOff x="0" y="0"/>
          <a:chExt cx="0" cy="0"/>
        </a:xfrm>
      </p:grpSpPr>
      <p:pic>
        <p:nvPicPr>
          <p:cNvPr id="4" name="Imagem 3" descr="Texto&#10;&#10;O conteúdo gerado por IA pode estar incorreto.">
            <a:extLst>
              <a:ext uri="{FF2B5EF4-FFF2-40B4-BE49-F238E27FC236}">
                <a16:creationId xmlns:a16="http://schemas.microsoft.com/office/drawing/2014/main" id="{56437CAB-8E37-C927-CE41-3FC401AE72C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1569" y="6224288"/>
            <a:ext cx="1775743" cy="425021"/>
          </a:xfrm>
          <a:prstGeom prst="rect">
            <a:avLst/>
          </a:prstGeom>
        </p:spPr>
      </p:pic>
      <p:pic>
        <p:nvPicPr>
          <p:cNvPr id="3" name="Imagem 2" descr="Uma imagem contendo Forma&#10;&#10;O conteúdo gerado por IA pode estar incorreto.">
            <a:extLst>
              <a:ext uri="{FF2B5EF4-FFF2-40B4-BE49-F238E27FC236}">
                <a16:creationId xmlns:a16="http://schemas.microsoft.com/office/drawing/2014/main" id="{00458DD2-9214-D1E4-3332-941F2BA716F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63494" y="4475018"/>
            <a:ext cx="1419393" cy="2382982"/>
          </a:xfrm>
          <a:prstGeom prst="rect">
            <a:avLst/>
          </a:prstGeom>
        </p:spPr>
      </p:pic>
      <p:sp>
        <p:nvSpPr>
          <p:cNvPr id="5" name="CaixaDeTexto 4">
            <a:extLst>
              <a:ext uri="{FF2B5EF4-FFF2-40B4-BE49-F238E27FC236}">
                <a16:creationId xmlns:a16="http://schemas.microsoft.com/office/drawing/2014/main" id="{AC06EAA4-B682-86DD-A15C-8D705A3AE615}"/>
              </a:ext>
            </a:extLst>
          </p:cNvPr>
          <p:cNvSpPr txBox="1"/>
          <p:nvPr/>
        </p:nvSpPr>
        <p:spPr>
          <a:xfrm>
            <a:off x="613606" y="1482771"/>
            <a:ext cx="9901989" cy="4247317"/>
          </a:xfrm>
          <a:prstGeom prst="rect">
            <a:avLst/>
          </a:prstGeom>
          <a:noFill/>
        </p:spPr>
        <p:txBody>
          <a:bodyPr wrap="square">
            <a:spAutoFit/>
          </a:bodyPr>
          <a:lstStyle/>
          <a:p>
            <a:pPr marL="285750" indent="-285750" algn="just">
              <a:buFont typeface="Wingdings" panose="05000000000000000000" pitchFamily="2" charset="2"/>
              <a:buChar char="ü"/>
            </a:pPr>
            <a:r>
              <a:rPr lang="en-US" b="1" dirty="0">
                <a:latin typeface="Calibri" panose="020F0502020204030204" pitchFamily="34" charset="0"/>
                <a:ea typeface="Calibri" panose="020F0502020204030204" pitchFamily="34" charset="0"/>
                <a:cs typeface="Calibri" panose="020F0502020204030204" pitchFamily="34" charset="0"/>
              </a:rPr>
              <a:t>- International Convergence and Reputation</a:t>
            </a:r>
          </a:p>
          <a:p>
            <a:pPr marL="285750" indent="-285750" algn="just">
              <a:buFont typeface="Wingdings" panose="05000000000000000000" pitchFamily="2" charset="2"/>
              <a:buChar char="ü"/>
            </a:pPr>
            <a:r>
              <a:rPr lang="en-US" b="1" dirty="0">
                <a:latin typeface="Calibri" panose="020F0502020204030204" pitchFamily="34" charset="0"/>
                <a:ea typeface="Calibri" panose="020F0502020204030204" pitchFamily="34" charset="0"/>
                <a:cs typeface="Calibri" panose="020F0502020204030204" pitchFamily="34" charset="0"/>
              </a:rPr>
              <a:t>Convention 92 is a global standard. Non-adherence keeps Brazil outside a consolidated regime, increasing the perception of risk.</a:t>
            </a:r>
          </a:p>
          <a:p>
            <a:pPr marL="285750" indent="-285750" algn="just">
              <a:buFont typeface="Wingdings" panose="05000000000000000000" pitchFamily="2" charset="2"/>
              <a:buChar char="ü"/>
            </a:pPr>
            <a:endParaRPr lang="en-US" b="1" dirty="0">
              <a:latin typeface="Calibri" panose="020F0502020204030204" pitchFamily="34" charset="0"/>
              <a:ea typeface="Calibri" panose="020F0502020204030204" pitchFamily="34" charset="0"/>
              <a:cs typeface="Calibri" panose="020F0502020204030204" pitchFamily="34" charset="0"/>
            </a:endParaRPr>
          </a:p>
          <a:p>
            <a:pPr marL="285750" indent="-285750" algn="just">
              <a:buFont typeface="Wingdings" panose="05000000000000000000" pitchFamily="2" charset="2"/>
              <a:buChar char="ü"/>
            </a:pPr>
            <a:r>
              <a:rPr lang="en-US" b="1" dirty="0">
                <a:latin typeface="Calibri" panose="020F0502020204030204" pitchFamily="34" charset="0"/>
                <a:ea typeface="Calibri" panose="020F0502020204030204" pitchFamily="34" charset="0"/>
                <a:cs typeface="Calibri" panose="020F0502020204030204" pitchFamily="34" charset="0"/>
              </a:rPr>
              <a:t>- Compensation Effectiveness</a:t>
            </a:r>
          </a:p>
          <a:p>
            <a:pPr marL="285750" indent="-285750" algn="just">
              <a:buFont typeface="Wingdings" panose="05000000000000000000" pitchFamily="2" charset="2"/>
              <a:buChar char="ü"/>
            </a:pPr>
            <a:r>
              <a:rPr lang="en-US" b="1" dirty="0">
                <a:latin typeface="Calibri" panose="020F0502020204030204" pitchFamily="34" charset="0"/>
                <a:ea typeface="Calibri" panose="020F0502020204030204" pitchFamily="34" charset="0"/>
                <a:cs typeface="Calibri" panose="020F0502020204030204" pitchFamily="34" charset="0"/>
              </a:rPr>
              <a:t>Mandatory insurance + direct action guarantee swift payment to victims.</a:t>
            </a:r>
          </a:p>
          <a:p>
            <a:pPr marL="285750" indent="-285750" algn="just">
              <a:buFont typeface="Wingdings" panose="05000000000000000000" pitchFamily="2" charset="2"/>
              <a:buChar char="ü"/>
            </a:pPr>
            <a:r>
              <a:rPr lang="en-US" b="1" dirty="0">
                <a:latin typeface="Calibri" panose="020F0502020204030204" pitchFamily="34" charset="0"/>
                <a:ea typeface="Calibri" panose="020F0502020204030204" pitchFamily="34" charset="0"/>
                <a:cs typeface="Calibri" panose="020F0502020204030204" pitchFamily="34" charset="0"/>
              </a:rPr>
              <a:t>Access to IOPC Funds expands the "deep pocket" for large claims.</a:t>
            </a:r>
          </a:p>
          <a:p>
            <a:pPr marL="285750" indent="-285750" algn="just">
              <a:buFont typeface="Wingdings" panose="05000000000000000000" pitchFamily="2" charset="2"/>
              <a:buChar char="ü"/>
            </a:pPr>
            <a:endParaRPr lang="en-US" b="1" dirty="0">
              <a:latin typeface="Calibri" panose="020F0502020204030204" pitchFamily="34" charset="0"/>
              <a:ea typeface="Calibri" panose="020F0502020204030204" pitchFamily="34" charset="0"/>
              <a:cs typeface="Calibri" panose="020F0502020204030204" pitchFamily="34" charset="0"/>
            </a:endParaRPr>
          </a:p>
          <a:p>
            <a:pPr marL="285750" indent="-285750" algn="just">
              <a:buFont typeface="Wingdings" panose="05000000000000000000" pitchFamily="2" charset="2"/>
              <a:buChar char="ü"/>
            </a:pPr>
            <a:r>
              <a:rPr lang="en-US" b="1" dirty="0">
                <a:latin typeface="Calibri" panose="020F0502020204030204" pitchFamily="34" charset="0"/>
                <a:ea typeface="Calibri" panose="020F0502020204030204" pitchFamily="34" charset="0"/>
                <a:cs typeface="Calibri" panose="020F0502020204030204" pitchFamily="34" charset="0"/>
              </a:rPr>
              <a:t>- Regulatory Efficiency</a:t>
            </a:r>
          </a:p>
          <a:p>
            <a:pPr marL="285750" indent="-285750" algn="just">
              <a:buFont typeface="Wingdings" panose="05000000000000000000" pitchFamily="2" charset="2"/>
              <a:buChar char="ü"/>
            </a:pPr>
            <a:r>
              <a:rPr lang="en-US" b="1" dirty="0">
                <a:latin typeface="Calibri" panose="020F0502020204030204" pitchFamily="34" charset="0"/>
                <a:ea typeface="Calibri" panose="020F0502020204030204" pitchFamily="34" charset="0"/>
                <a:cs typeface="Calibri" panose="020F0502020204030204" pitchFamily="34" charset="0"/>
              </a:rPr>
              <a:t>Channeling + limitation reduces litigation and judicial costs.</a:t>
            </a:r>
          </a:p>
          <a:p>
            <a:pPr marL="285750" indent="-285750" algn="just">
              <a:buFont typeface="Wingdings" panose="05000000000000000000" pitchFamily="2" charset="2"/>
              <a:buChar char="ü"/>
            </a:pPr>
            <a:r>
              <a:rPr lang="en-US" b="1" dirty="0">
                <a:latin typeface="Calibri" panose="020F0502020204030204" pitchFamily="34" charset="0"/>
                <a:ea typeface="Calibri" panose="020F0502020204030204" pitchFamily="34" charset="0"/>
                <a:cs typeface="Calibri" panose="020F0502020204030204" pitchFamily="34" charset="0"/>
              </a:rPr>
              <a:t>Improves incident governance and decision predictability.</a:t>
            </a:r>
          </a:p>
          <a:p>
            <a:pPr marL="285750" indent="-285750" algn="just">
              <a:buFont typeface="Wingdings" panose="05000000000000000000" pitchFamily="2" charset="2"/>
              <a:buChar char="ü"/>
            </a:pPr>
            <a:endParaRPr lang="en-US" b="1" dirty="0">
              <a:latin typeface="Calibri" panose="020F0502020204030204" pitchFamily="34" charset="0"/>
              <a:ea typeface="Calibri" panose="020F0502020204030204" pitchFamily="34" charset="0"/>
              <a:cs typeface="Calibri" panose="020F0502020204030204" pitchFamily="34" charset="0"/>
            </a:endParaRPr>
          </a:p>
          <a:p>
            <a:pPr marL="285750" indent="-285750" algn="just">
              <a:buFont typeface="Wingdings" panose="05000000000000000000" pitchFamily="2" charset="2"/>
              <a:buChar char="ü"/>
            </a:pPr>
            <a:r>
              <a:rPr lang="en-US" b="1" dirty="0">
                <a:latin typeface="Calibri" panose="020F0502020204030204" pitchFamily="34" charset="0"/>
                <a:ea typeface="Calibri" panose="020F0502020204030204" pitchFamily="34" charset="0"/>
                <a:cs typeface="Calibri" panose="020F0502020204030204" pitchFamily="34" charset="0"/>
              </a:rPr>
              <a:t>- Competitiveness and Cost of Capital</a:t>
            </a:r>
          </a:p>
          <a:p>
            <a:pPr marL="285750" indent="-285750" algn="just">
              <a:buFont typeface="Wingdings" panose="05000000000000000000" pitchFamily="2" charset="2"/>
              <a:buChar char="ü"/>
            </a:pPr>
            <a:r>
              <a:rPr lang="en-US" b="1" dirty="0">
                <a:latin typeface="Calibri" panose="020F0502020204030204" pitchFamily="34" charset="0"/>
                <a:ea typeface="Calibri" panose="020F0502020204030204" pitchFamily="34" charset="0"/>
                <a:cs typeface="Calibri" panose="020F0502020204030204" pitchFamily="34" charset="0"/>
              </a:rPr>
              <a:t>Lower regulatory risk → lower insurance costs and better access to financing.</a:t>
            </a:r>
          </a:p>
          <a:p>
            <a:pPr marL="285750" indent="-285750" algn="just">
              <a:buFont typeface="Wingdings" panose="05000000000000000000" pitchFamily="2" charset="2"/>
              <a:buChar char="ü"/>
            </a:pPr>
            <a:r>
              <a:rPr lang="en-US" b="1" dirty="0">
                <a:latin typeface="Calibri" panose="020F0502020204030204" pitchFamily="34" charset="0"/>
                <a:ea typeface="Calibri" panose="020F0502020204030204" pitchFamily="34" charset="0"/>
                <a:cs typeface="Calibri" panose="020F0502020204030204" pitchFamily="34" charset="0"/>
              </a:rPr>
              <a:t>Incentivizes fleet and operations under national flag/control.</a:t>
            </a:r>
            <a:endParaRPr lang="pt-BR" b="1" dirty="0">
              <a:latin typeface="Calibri" panose="020F0502020204030204" pitchFamily="34" charset="0"/>
              <a:ea typeface="Calibri" panose="020F0502020204030204" pitchFamily="34" charset="0"/>
              <a:cs typeface="Calibri" panose="020F0502020204030204" pitchFamily="34" charset="0"/>
            </a:endParaRPr>
          </a:p>
        </p:txBody>
      </p:sp>
      <p:pic>
        <p:nvPicPr>
          <p:cNvPr id="9" name="Picture 2" descr="Related">
            <a:extLst>
              <a:ext uri="{FF2B5EF4-FFF2-40B4-BE49-F238E27FC236}">
                <a16:creationId xmlns:a16="http://schemas.microsoft.com/office/drawing/2014/main" id="{E598DD13-FA49-8FE9-864B-D55D8294CB9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843884" y="73005"/>
            <a:ext cx="1258612" cy="887997"/>
          </a:xfrm>
          <a:prstGeom prst="rect">
            <a:avLst/>
          </a:prstGeom>
          <a:noFill/>
          <a:extLst>
            <a:ext uri="{909E8E84-426E-40DD-AFC4-6F175D3DCCD1}">
              <a14:hiddenFill xmlns:a14="http://schemas.microsoft.com/office/drawing/2010/main">
                <a:solidFill>
                  <a:srgbClr val="FFFFFF"/>
                </a:solidFill>
              </a14:hiddenFill>
            </a:ext>
          </a:extLst>
        </p:spPr>
      </p:pic>
      <p:sp>
        <p:nvSpPr>
          <p:cNvPr id="2" name="Elipse 1">
            <a:extLst>
              <a:ext uri="{FF2B5EF4-FFF2-40B4-BE49-F238E27FC236}">
                <a16:creationId xmlns:a16="http://schemas.microsoft.com/office/drawing/2014/main" id="{5C207A9A-1A73-2B24-D506-48481C35B6F6}"/>
              </a:ext>
            </a:extLst>
          </p:cNvPr>
          <p:cNvSpPr/>
          <p:nvPr/>
        </p:nvSpPr>
        <p:spPr>
          <a:xfrm>
            <a:off x="11685200" y="6374990"/>
            <a:ext cx="398310" cy="398207"/>
          </a:xfrm>
          <a:prstGeom prst="ellipse">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800" b="1" dirty="0">
                <a:solidFill>
                  <a:srgbClr val="006199"/>
                </a:solidFill>
              </a:rPr>
              <a:t>P</a:t>
            </a:r>
          </a:p>
        </p:txBody>
      </p:sp>
      <p:sp>
        <p:nvSpPr>
          <p:cNvPr id="6" name="CaixaDeTexto 5">
            <a:extLst>
              <a:ext uri="{FF2B5EF4-FFF2-40B4-BE49-F238E27FC236}">
                <a16:creationId xmlns:a16="http://schemas.microsoft.com/office/drawing/2014/main" id="{20303188-6F37-9EF7-7EF7-7E447CA31168}"/>
              </a:ext>
            </a:extLst>
          </p:cNvPr>
          <p:cNvSpPr txBox="1"/>
          <p:nvPr/>
        </p:nvSpPr>
        <p:spPr>
          <a:xfrm>
            <a:off x="336895" y="343109"/>
            <a:ext cx="9091711" cy="461665"/>
          </a:xfrm>
          <a:prstGeom prst="rect">
            <a:avLst/>
          </a:prstGeom>
          <a:noFill/>
        </p:spPr>
        <p:txBody>
          <a:bodyPr wrap="square">
            <a:spAutoFit/>
          </a:bodyPr>
          <a:lstStyle/>
          <a:p>
            <a:pPr marL="0" marR="0" lvl="0" indent="0" algn="l" defTabSz="1218832"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8542"/>
                </a:solidFill>
                <a:effectLst/>
                <a:uLnTx/>
                <a:uFillTx/>
                <a:latin typeface="Trebuchet MS" panose="020B0703020202090204" pitchFamily="34" charset="0"/>
                <a:ea typeface="+mn-ea"/>
                <a:cs typeface="+mn-cs"/>
              </a:rPr>
              <a:t>CONCLUSIONS – WHY SHOLD WE SIGN CLC 92</a:t>
            </a:r>
          </a:p>
        </p:txBody>
      </p:sp>
      <p:sp>
        <p:nvSpPr>
          <p:cNvPr id="8" name="Retângulo 7">
            <a:extLst>
              <a:ext uri="{FF2B5EF4-FFF2-40B4-BE49-F238E27FC236}">
                <a16:creationId xmlns:a16="http://schemas.microsoft.com/office/drawing/2014/main" id="{0F077B59-52B8-A55C-B8DA-C3DA9D2B35FB}"/>
              </a:ext>
            </a:extLst>
          </p:cNvPr>
          <p:cNvSpPr/>
          <p:nvPr/>
        </p:nvSpPr>
        <p:spPr>
          <a:xfrm>
            <a:off x="419378" y="848159"/>
            <a:ext cx="420421" cy="41563"/>
          </a:xfrm>
          <a:prstGeom prst="rect">
            <a:avLst/>
          </a:prstGeom>
          <a:solidFill>
            <a:srgbClr val="FDC6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Trebuchet MS" panose="020B0703020202090204" pitchFamily="34" charset="0"/>
              <a:ea typeface="+mn-ea"/>
              <a:cs typeface="+mn-cs"/>
            </a:endParaRPr>
          </a:p>
        </p:txBody>
      </p:sp>
    </p:spTree>
    <p:extLst>
      <p:ext uri="{BB962C8B-B14F-4D97-AF65-F5344CB8AC3E}">
        <p14:creationId xmlns:p14="http://schemas.microsoft.com/office/powerpoint/2010/main" val="971781957"/>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4F9B9E-CD06-75CA-1FAD-CF10B9A21F2F}"/>
            </a:ext>
          </a:extLst>
        </p:cNvPr>
        <p:cNvGrpSpPr/>
        <p:nvPr/>
      </p:nvGrpSpPr>
      <p:grpSpPr>
        <a:xfrm>
          <a:off x="0" y="0"/>
          <a:ext cx="0" cy="0"/>
          <a:chOff x="0" y="0"/>
          <a:chExt cx="0" cy="0"/>
        </a:xfrm>
      </p:grpSpPr>
      <p:pic>
        <p:nvPicPr>
          <p:cNvPr id="4" name="Imagem 3" descr="Texto&#10;&#10;O conteúdo gerado por IA pode estar incorreto.">
            <a:extLst>
              <a:ext uri="{FF2B5EF4-FFF2-40B4-BE49-F238E27FC236}">
                <a16:creationId xmlns:a16="http://schemas.microsoft.com/office/drawing/2014/main" id="{FA6E440B-6A48-763A-8A02-17D6AFB05F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1569" y="6224288"/>
            <a:ext cx="1775743" cy="425021"/>
          </a:xfrm>
          <a:prstGeom prst="rect">
            <a:avLst/>
          </a:prstGeom>
        </p:spPr>
      </p:pic>
      <p:pic>
        <p:nvPicPr>
          <p:cNvPr id="3" name="Imagem 2" descr="Uma imagem contendo Forma&#10;&#10;O conteúdo gerado por IA pode estar incorreto.">
            <a:extLst>
              <a:ext uri="{FF2B5EF4-FFF2-40B4-BE49-F238E27FC236}">
                <a16:creationId xmlns:a16="http://schemas.microsoft.com/office/drawing/2014/main" id="{75D0798E-8E22-62CA-6C2B-DB05388251D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63494" y="4475018"/>
            <a:ext cx="1419393" cy="2382982"/>
          </a:xfrm>
          <a:prstGeom prst="rect">
            <a:avLst/>
          </a:prstGeom>
        </p:spPr>
      </p:pic>
      <p:sp>
        <p:nvSpPr>
          <p:cNvPr id="5" name="CaixaDeTexto 4">
            <a:extLst>
              <a:ext uri="{FF2B5EF4-FFF2-40B4-BE49-F238E27FC236}">
                <a16:creationId xmlns:a16="http://schemas.microsoft.com/office/drawing/2014/main" id="{3D3A7948-40E6-CF8E-BFEB-9DF87F024CC1}"/>
              </a:ext>
            </a:extLst>
          </p:cNvPr>
          <p:cNvSpPr txBox="1"/>
          <p:nvPr/>
        </p:nvSpPr>
        <p:spPr>
          <a:xfrm>
            <a:off x="791568" y="1338395"/>
            <a:ext cx="11178009" cy="3693319"/>
          </a:xfrm>
          <a:prstGeom prst="rect">
            <a:avLst/>
          </a:prstGeom>
          <a:noFill/>
        </p:spPr>
        <p:txBody>
          <a:bodyPr wrap="square">
            <a:spAutoFit/>
          </a:bodyPr>
          <a:lstStyle/>
          <a:p>
            <a:pPr marL="285750" indent="-285750" algn="just">
              <a:buFont typeface="Wingdings" panose="05000000000000000000" pitchFamily="2" charset="2"/>
              <a:buChar char="ü"/>
            </a:pPr>
            <a:endParaRPr lang="en-US" b="1" dirty="0">
              <a:latin typeface="Calibri" panose="020F0502020204030204" pitchFamily="34" charset="0"/>
              <a:ea typeface="Calibri" panose="020F0502020204030204" pitchFamily="34" charset="0"/>
              <a:cs typeface="Calibri" panose="020F0502020204030204" pitchFamily="34" charset="0"/>
            </a:endParaRPr>
          </a:p>
          <a:p>
            <a:pPr marL="285750" indent="-285750" algn="just">
              <a:buFont typeface="Wingdings" panose="05000000000000000000" pitchFamily="2" charset="2"/>
              <a:buChar char="ü"/>
            </a:pPr>
            <a:r>
              <a:rPr lang="en-US" b="1" dirty="0">
                <a:latin typeface="Calibri" panose="020F0502020204030204" pitchFamily="34" charset="0"/>
                <a:ea typeface="Calibri" panose="020F0502020204030204" pitchFamily="34" charset="0"/>
                <a:cs typeface="Calibri" panose="020F0502020204030204" pitchFamily="34" charset="0"/>
              </a:rPr>
              <a:t>- Public Policy and National Interest</a:t>
            </a:r>
          </a:p>
          <a:p>
            <a:pPr marL="285750" indent="-285750" algn="just">
              <a:buFont typeface="Wingdings" panose="05000000000000000000" pitchFamily="2" charset="2"/>
              <a:buChar char="ü"/>
            </a:pPr>
            <a:r>
              <a:rPr lang="en-US" b="1" dirty="0">
                <a:latin typeface="Calibri" panose="020F0502020204030204" pitchFamily="34" charset="0"/>
                <a:ea typeface="Calibri" panose="020F0502020204030204" pitchFamily="34" charset="0"/>
                <a:cs typeface="Calibri" panose="020F0502020204030204" pitchFamily="34" charset="0"/>
              </a:rPr>
              <a:t>Strengthens environmental security with robust financial instruments.</a:t>
            </a:r>
          </a:p>
          <a:p>
            <a:pPr marL="285750" indent="-285750" algn="just">
              <a:buFont typeface="Wingdings" panose="05000000000000000000" pitchFamily="2" charset="2"/>
              <a:buChar char="ü"/>
            </a:pPr>
            <a:r>
              <a:rPr lang="en-US" b="1" dirty="0">
                <a:latin typeface="Calibri" panose="020F0502020204030204" pitchFamily="34" charset="0"/>
                <a:ea typeface="Calibri" panose="020F0502020204030204" pitchFamily="34" charset="0"/>
                <a:cs typeface="Calibri" panose="020F0502020204030204" pitchFamily="34" charset="0"/>
              </a:rPr>
              <a:t>Consistent with a strategy to strengthen cabotage and coastal logistics.</a:t>
            </a:r>
          </a:p>
          <a:p>
            <a:pPr marL="285750" indent="-285750" algn="just">
              <a:buFont typeface="Wingdings" panose="05000000000000000000" pitchFamily="2" charset="2"/>
              <a:buChar char="ü"/>
            </a:pPr>
            <a:endParaRPr lang="en-US" b="1" dirty="0">
              <a:latin typeface="Calibri" panose="020F0502020204030204" pitchFamily="34" charset="0"/>
              <a:ea typeface="Calibri" panose="020F0502020204030204" pitchFamily="34" charset="0"/>
              <a:cs typeface="Calibri" panose="020F0502020204030204" pitchFamily="34" charset="0"/>
            </a:endParaRPr>
          </a:p>
          <a:p>
            <a:pPr marL="285750" indent="-285750" algn="just">
              <a:buFont typeface="Wingdings" panose="05000000000000000000" pitchFamily="2" charset="2"/>
              <a:buChar char="ü"/>
            </a:pPr>
            <a:r>
              <a:rPr lang="en-US" b="1" dirty="0">
                <a:latin typeface="Calibri" panose="020F0502020204030204" pitchFamily="34" charset="0"/>
                <a:ea typeface="Calibri" panose="020F0502020204030204" pitchFamily="34" charset="0"/>
                <a:cs typeface="Calibri" panose="020F0502020204030204" pitchFamily="34" charset="0"/>
              </a:rPr>
              <a:t>- Relationship with Brazilian legal system</a:t>
            </a:r>
          </a:p>
          <a:p>
            <a:pPr marL="285750" indent="-285750" algn="just">
              <a:buFont typeface="Wingdings" panose="05000000000000000000" pitchFamily="2" charset="2"/>
              <a:buChar char="ü"/>
            </a:pPr>
            <a:r>
              <a:rPr lang="en-US" b="1" dirty="0">
                <a:latin typeface="Calibri" panose="020F0502020204030204" pitchFamily="34" charset="0"/>
                <a:ea typeface="Calibri" panose="020F0502020204030204" pitchFamily="34" charset="0"/>
                <a:cs typeface="Calibri" panose="020F0502020204030204" pitchFamily="34" charset="0"/>
              </a:rPr>
              <a:t>It coexists with:</a:t>
            </a:r>
          </a:p>
          <a:p>
            <a:pPr marL="285750" indent="-285750" algn="just">
              <a:buFont typeface="Wingdings" panose="05000000000000000000" pitchFamily="2" charset="2"/>
              <a:buChar char="ü"/>
            </a:pPr>
            <a:r>
              <a:rPr lang="en-US" b="1" dirty="0">
                <a:latin typeface="Calibri" panose="020F0502020204030204" pitchFamily="34" charset="0"/>
                <a:ea typeface="Calibri" panose="020F0502020204030204" pitchFamily="34" charset="0"/>
                <a:cs typeface="Calibri" panose="020F0502020204030204" pitchFamily="34" charset="0"/>
              </a:rPr>
              <a:t>Law No. 9,537/1997 (LESTA) and regulations of the Maritime Authority (navigation safety);</a:t>
            </a:r>
          </a:p>
          <a:p>
            <a:pPr marL="285750" indent="-285750" algn="just">
              <a:buFont typeface="Wingdings" panose="05000000000000000000" pitchFamily="2" charset="2"/>
              <a:buChar char="ü"/>
            </a:pPr>
            <a:r>
              <a:rPr lang="en-US" b="1" dirty="0">
                <a:latin typeface="Calibri" panose="020F0502020204030204" pitchFamily="34" charset="0"/>
                <a:ea typeface="Calibri" panose="020F0502020204030204" pitchFamily="34" charset="0"/>
                <a:cs typeface="Calibri" panose="020F0502020204030204" pitchFamily="34" charset="0"/>
              </a:rPr>
              <a:t>Law No. 9,966/2000 (oil pollution in waters under national jurisdiction);</a:t>
            </a:r>
          </a:p>
          <a:p>
            <a:pPr marL="285750" indent="-285750" algn="just">
              <a:buFont typeface="Wingdings" panose="05000000000000000000" pitchFamily="2" charset="2"/>
              <a:buChar char="ü"/>
            </a:pPr>
            <a:r>
              <a:rPr lang="en-US" b="1" dirty="0">
                <a:latin typeface="Calibri" panose="020F0502020204030204" pitchFamily="34" charset="0"/>
                <a:ea typeface="Calibri" panose="020F0502020204030204" pitchFamily="34" charset="0"/>
                <a:cs typeface="Calibri" panose="020F0502020204030204" pitchFamily="34" charset="0"/>
              </a:rPr>
              <a:t>ANTAQ regulations (operations and inspection).</a:t>
            </a:r>
          </a:p>
          <a:p>
            <a:pPr marL="285750" indent="-285750" algn="just">
              <a:buFont typeface="Wingdings" panose="05000000000000000000" pitchFamily="2" charset="2"/>
              <a:buChar char="ü"/>
            </a:pPr>
            <a:endParaRPr lang="en-US" b="1" dirty="0">
              <a:latin typeface="Calibri" panose="020F0502020204030204" pitchFamily="34" charset="0"/>
              <a:ea typeface="Calibri" panose="020F0502020204030204" pitchFamily="34" charset="0"/>
              <a:cs typeface="Calibri" panose="020F0502020204030204" pitchFamily="34" charset="0"/>
            </a:endParaRPr>
          </a:p>
          <a:p>
            <a:pPr marL="285750" indent="-285750" algn="just">
              <a:buFont typeface="Wingdings" panose="05000000000000000000" pitchFamily="2" charset="2"/>
              <a:buChar char="ü"/>
            </a:pPr>
            <a:r>
              <a:rPr lang="en-US" b="1" dirty="0">
                <a:latin typeface="Calibri" panose="020F0502020204030204" pitchFamily="34" charset="0"/>
                <a:ea typeface="Calibri" panose="020F0502020204030204" pitchFamily="34" charset="0"/>
                <a:cs typeface="Calibri" panose="020F0502020204030204" pitchFamily="34" charset="0"/>
              </a:rPr>
              <a:t>The CLC does not replace internal environmental protection, but organizes the regime of civil liability and financial guarantee, bringing systemic coherence.</a:t>
            </a:r>
            <a:endParaRPr lang="pt-BR" b="1" dirty="0">
              <a:latin typeface="Calibri" panose="020F0502020204030204" pitchFamily="34" charset="0"/>
              <a:ea typeface="Calibri" panose="020F0502020204030204" pitchFamily="34" charset="0"/>
              <a:cs typeface="Calibri" panose="020F0502020204030204" pitchFamily="34" charset="0"/>
            </a:endParaRPr>
          </a:p>
        </p:txBody>
      </p:sp>
      <p:pic>
        <p:nvPicPr>
          <p:cNvPr id="9" name="Picture 2" descr="Related">
            <a:extLst>
              <a:ext uri="{FF2B5EF4-FFF2-40B4-BE49-F238E27FC236}">
                <a16:creationId xmlns:a16="http://schemas.microsoft.com/office/drawing/2014/main" id="{982CE8C6-5C5C-B319-12B6-5A762634AA1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843884" y="73005"/>
            <a:ext cx="1258612" cy="887997"/>
          </a:xfrm>
          <a:prstGeom prst="rect">
            <a:avLst/>
          </a:prstGeom>
          <a:noFill/>
          <a:extLst>
            <a:ext uri="{909E8E84-426E-40DD-AFC4-6F175D3DCCD1}">
              <a14:hiddenFill xmlns:a14="http://schemas.microsoft.com/office/drawing/2010/main">
                <a:solidFill>
                  <a:srgbClr val="FFFFFF"/>
                </a:solidFill>
              </a14:hiddenFill>
            </a:ext>
          </a:extLst>
        </p:spPr>
      </p:pic>
      <p:sp>
        <p:nvSpPr>
          <p:cNvPr id="2" name="Elipse 1">
            <a:extLst>
              <a:ext uri="{FF2B5EF4-FFF2-40B4-BE49-F238E27FC236}">
                <a16:creationId xmlns:a16="http://schemas.microsoft.com/office/drawing/2014/main" id="{604B9E32-E613-A6BB-7420-8EAE09FE3682}"/>
              </a:ext>
            </a:extLst>
          </p:cNvPr>
          <p:cNvSpPr/>
          <p:nvPr/>
        </p:nvSpPr>
        <p:spPr>
          <a:xfrm>
            <a:off x="11685200" y="6374990"/>
            <a:ext cx="398310" cy="398207"/>
          </a:xfrm>
          <a:prstGeom prst="ellipse">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800" b="1" dirty="0">
                <a:solidFill>
                  <a:srgbClr val="006199"/>
                </a:solidFill>
              </a:rPr>
              <a:t>P</a:t>
            </a:r>
          </a:p>
        </p:txBody>
      </p:sp>
      <p:sp>
        <p:nvSpPr>
          <p:cNvPr id="6" name="CaixaDeTexto 5">
            <a:extLst>
              <a:ext uri="{FF2B5EF4-FFF2-40B4-BE49-F238E27FC236}">
                <a16:creationId xmlns:a16="http://schemas.microsoft.com/office/drawing/2014/main" id="{DD241FDE-4E26-3609-CE37-7F685B7710CE}"/>
              </a:ext>
            </a:extLst>
          </p:cNvPr>
          <p:cNvSpPr txBox="1"/>
          <p:nvPr/>
        </p:nvSpPr>
        <p:spPr>
          <a:xfrm>
            <a:off x="336895" y="343109"/>
            <a:ext cx="9091711" cy="461665"/>
          </a:xfrm>
          <a:prstGeom prst="rect">
            <a:avLst/>
          </a:prstGeom>
          <a:noFill/>
        </p:spPr>
        <p:txBody>
          <a:bodyPr wrap="square">
            <a:spAutoFit/>
          </a:bodyPr>
          <a:lstStyle/>
          <a:p>
            <a:pPr marL="0" marR="0" lvl="0" indent="0" algn="l" defTabSz="1218832"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8542"/>
                </a:solidFill>
                <a:effectLst/>
                <a:uLnTx/>
                <a:uFillTx/>
                <a:latin typeface="Trebuchet MS" panose="020B0703020202090204" pitchFamily="34" charset="0"/>
                <a:ea typeface="+mn-ea"/>
                <a:cs typeface="+mn-cs"/>
              </a:rPr>
              <a:t>CONCLUSIONS – WHY SHOLD WE SIGN CLC 92</a:t>
            </a:r>
          </a:p>
        </p:txBody>
      </p:sp>
      <p:sp>
        <p:nvSpPr>
          <p:cNvPr id="8" name="Retângulo 7">
            <a:extLst>
              <a:ext uri="{FF2B5EF4-FFF2-40B4-BE49-F238E27FC236}">
                <a16:creationId xmlns:a16="http://schemas.microsoft.com/office/drawing/2014/main" id="{1BC13350-3C0F-63FC-D068-16E51F73F468}"/>
              </a:ext>
            </a:extLst>
          </p:cNvPr>
          <p:cNvSpPr/>
          <p:nvPr/>
        </p:nvSpPr>
        <p:spPr>
          <a:xfrm>
            <a:off x="419378" y="848159"/>
            <a:ext cx="420421" cy="41563"/>
          </a:xfrm>
          <a:prstGeom prst="rect">
            <a:avLst/>
          </a:prstGeom>
          <a:solidFill>
            <a:srgbClr val="FDC6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Trebuchet MS" panose="020B0703020202090204" pitchFamily="34" charset="0"/>
              <a:ea typeface="+mn-ea"/>
              <a:cs typeface="+mn-cs"/>
            </a:endParaRPr>
          </a:p>
        </p:txBody>
      </p:sp>
    </p:spTree>
    <p:extLst>
      <p:ext uri="{BB962C8B-B14F-4D97-AF65-F5344CB8AC3E}">
        <p14:creationId xmlns:p14="http://schemas.microsoft.com/office/powerpoint/2010/main" val="4199183076"/>
      </p:ext>
    </p:extLst>
  </p:cSld>
  <p:clrMapOvr>
    <a:masterClrMapping/>
  </p:clrMapOvr>
  <p:transition spd="slow">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m 2">
            <a:extLst>
              <a:ext uri="{FF2B5EF4-FFF2-40B4-BE49-F238E27FC236}">
                <a16:creationId xmlns:a16="http://schemas.microsoft.com/office/drawing/2014/main" id="{DD86A8BD-1E51-7E98-CDC4-6630D5A6FFD0}"/>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34924"/>
            <a:ext cx="12192000" cy="4216400"/>
          </a:xfrm>
          <a:prstGeom prst="rect">
            <a:avLst/>
          </a:prstGeom>
        </p:spPr>
      </p:pic>
      <p:pic>
        <p:nvPicPr>
          <p:cNvPr id="9" name="Imagem 8" descr="Texto&#10;&#10;O conteúdo gerado por IA pode estar incorreto.">
            <a:extLst>
              <a:ext uri="{FF2B5EF4-FFF2-40B4-BE49-F238E27FC236}">
                <a16:creationId xmlns:a16="http://schemas.microsoft.com/office/drawing/2014/main" id="{EF3724DD-B123-3E68-D16D-AFB7E545F86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29068" y="5317750"/>
            <a:ext cx="2533864" cy="606476"/>
          </a:xfrm>
          <a:prstGeom prst="rect">
            <a:avLst/>
          </a:prstGeom>
        </p:spPr>
      </p:pic>
      <p:sp>
        <p:nvSpPr>
          <p:cNvPr id="6" name="CaixaDeTexto 5">
            <a:extLst>
              <a:ext uri="{FF2B5EF4-FFF2-40B4-BE49-F238E27FC236}">
                <a16:creationId xmlns:a16="http://schemas.microsoft.com/office/drawing/2014/main" id="{82C94AFF-823B-08DB-128A-052F159EFE6A}"/>
              </a:ext>
            </a:extLst>
          </p:cNvPr>
          <p:cNvSpPr txBox="1"/>
          <p:nvPr/>
        </p:nvSpPr>
        <p:spPr>
          <a:xfrm>
            <a:off x="123568" y="118872"/>
            <a:ext cx="12068432" cy="4278094"/>
          </a:xfrm>
          <a:prstGeom prst="rect">
            <a:avLst/>
          </a:prstGeom>
          <a:noFill/>
        </p:spPr>
        <p:txBody>
          <a:bodyPr wrap="square">
            <a:spAutoFit/>
          </a:bodyPr>
          <a:lstStyle/>
          <a:p>
            <a:pPr algn="ctr" defTabSz="914354">
              <a:defRPr/>
            </a:pPr>
            <a:r>
              <a:rPr lang="en-US" sz="2800" dirty="0">
                <a:solidFill>
                  <a:prstClr val="white"/>
                </a:solidFill>
                <a:effectLst>
                  <a:outerShdw blurRad="38100" dist="38100" dir="2700000" algn="tl">
                    <a:srgbClr val="000000">
                      <a:alpha val="43137"/>
                    </a:srgbClr>
                  </a:outerShdw>
                </a:effectLst>
                <a:latin typeface="Trebuchet MS" panose="020B0703020202090204" pitchFamily="34" charset="0"/>
              </a:rPr>
              <a:t>THANK YOU</a:t>
            </a:r>
          </a:p>
          <a:p>
            <a:pPr algn="ctr" defTabSz="914354">
              <a:defRPr/>
            </a:pPr>
            <a:endParaRPr lang="en-US" dirty="0">
              <a:solidFill>
                <a:prstClr val="white"/>
              </a:solidFill>
              <a:latin typeface="Trebuchet MS" panose="020B0703020202090204" pitchFamily="34" charset="0"/>
            </a:endParaRPr>
          </a:p>
          <a:p>
            <a:pPr algn="ctr" defTabSz="914354">
              <a:defRPr/>
            </a:pPr>
            <a:r>
              <a:rPr lang="en-US" sz="1600" b="1" dirty="0">
                <a:solidFill>
                  <a:prstClr val="white"/>
                </a:solidFill>
                <a:effectLst>
                  <a:outerShdw blurRad="38100" dist="38100" dir="2700000" algn="tl">
                    <a:srgbClr val="000000">
                      <a:alpha val="43137"/>
                    </a:srgbClr>
                  </a:outerShdw>
                </a:effectLst>
                <a:latin typeface="Trebuchet MS" panose="020B0703020202090204" pitchFamily="34" charset="0"/>
              </a:rPr>
              <a:t>The new world order and legal aspects: </a:t>
            </a:r>
          </a:p>
          <a:p>
            <a:pPr algn="ctr" defTabSz="914354">
              <a:defRPr/>
            </a:pPr>
            <a:r>
              <a:rPr lang="en-US" sz="1600" b="1" dirty="0">
                <a:solidFill>
                  <a:prstClr val="white"/>
                </a:solidFill>
                <a:effectLst>
                  <a:outerShdw blurRad="38100" dist="38100" dir="2700000" algn="tl">
                    <a:srgbClr val="000000">
                      <a:alpha val="43137"/>
                    </a:srgbClr>
                  </a:outerShdw>
                </a:effectLst>
                <a:latin typeface="Trebuchet MS" panose="020B0703020202090204" pitchFamily="34" charset="0"/>
              </a:rPr>
              <a:t>The importance of international conventions for Brazil </a:t>
            </a:r>
          </a:p>
          <a:p>
            <a:pPr algn="ctr" defTabSz="914354">
              <a:defRPr/>
            </a:pPr>
            <a:endParaRPr lang="en-US" sz="1600" dirty="0">
              <a:solidFill>
                <a:prstClr val="white"/>
              </a:solidFill>
              <a:latin typeface="Trebuchet MS" panose="020B0703020202090204" pitchFamily="34" charset="0"/>
            </a:endParaRPr>
          </a:p>
          <a:p>
            <a:pPr algn="ctr" defTabSz="914354">
              <a:defRPr/>
            </a:pPr>
            <a:r>
              <a:rPr lang="en-US" sz="1600" dirty="0">
                <a:solidFill>
                  <a:prstClr val="white"/>
                </a:solidFill>
                <a:latin typeface="Trebuchet MS" panose="020B0703020202090204" pitchFamily="34" charset="0"/>
              </a:rPr>
              <a:t>CMI RIO 2026 </a:t>
            </a:r>
          </a:p>
          <a:p>
            <a:pPr algn="ctr" defTabSz="914354">
              <a:defRPr/>
            </a:pPr>
            <a:r>
              <a:rPr lang="en-US" sz="1600" dirty="0">
                <a:solidFill>
                  <a:prstClr val="white"/>
                </a:solidFill>
                <a:latin typeface="Trebuchet MS" panose="020B0703020202090204" pitchFamily="34" charset="0"/>
              </a:rPr>
              <a:t>Plenary Session</a:t>
            </a:r>
          </a:p>
          <a:p>
            <a:pPr algn="ctr" defTabSz="914354">
              <a:defRPr/>
            </a:pPr>
            <a:r>
              <a:rPr lang="en-US" sz="1600" dirty="0">
                <a:solidFill>
                  <a:prstClr val="white"/>
                </a:solidFill>
                <a:latin typeface="Trebuchet MS" panose="020B0703020202090204" pitchFamily="34" charset="0"/>
              </a:rPr>
              <a:t>Rio de Janeiro, 13/may/2026. </a:t>
            </a:r>
          </a:p>
          <a:p>
            <a:pPr algn="ctr" defTabSz="914354">
              <a:defRPr/>
            </a:pPr>
            <a:endParaRPr lang="en-US" sz="1600" dirty="0">
              <a:solidFill>
                <a:prstClr val="white"/>
              </a:solidFill>
              <a:latin typeface="Trebuchet MS" panose="020B0703020202090204" pitchFamily="34" charset="0"/>
            </a:endParaRPr>
          </a:p>
          <a:p>
            <a:pPr algn="ctr" defTabSz="914354">
              <a:defRPr/>
            </a:pPr>
            <a:r>
              <a:rPr lang="en-US" sz="1600" dirty="0">
                <a:solidFill>
                  <a:prstClr val="white"/>
                </a:solidFill>
                <a:effectLst>
                  <a:outerShdw blurRad="38100" dist="38100" dir="2700000" algn="tl">
                    <a:srgbClr val="000000">
                      <a:alpha val="43137"/>
                    </a:srgbClr>
                  </a:outerShdw>
                </a:effectLst>
                <a:latin typeface="Trebuchet MS" panose="020B0703020202090204" pitchFamily="34" charset="0"/>
              </a:rPr>
              <a:t>Capt. Jones A. B. Soares</a:t>
            </a:r>
          </a:p>
          <a:p>
            <a:pPr algn="ctr" defTabSz="914354">
              <a:defRPr/>
            </a:pPr>
            <a:r>
              <a:rPr lang="en-US" sz="1600" dirty="0" err="1">
                <a:solidFill>
                  <a:prstClr val="white"/>
                </a:solidFill>
                <a:latin typeface="Trebuchet MS" panose="020B0703020202090204" pitchFamily="34" charset="0"/>
              </a:rPr>
              <a:t>M.Sc</a:t>
            </a:r>
            <a:r>
              <a:rPr lang="en-US" sz="1600" dirty="0">
                <a:solidFill>
                  <a:prstClr val="white"/>
                </a:solidFill>
                <a:latin typeface="Trebuchet MS" panose="020B0703020202090204" pitchFamily="34" charset="0"/>
              </a:rPr>
              <a:t> AFNI MIFSMA MNAMEPA MCCMM MABDM</a:t>
            </a:r>
          </a:p>
          <a:p>
            <a:pPr algn="ctr" defTabSz="914354">
              <a:defRPr/>
            </a:pPr>
            <a:r>
              <a:rPr lang="en-US" sz="1600" dirty="0">
                <a:solidFill>
                  <a:prstClr val="white"/>
                </a:solidFill>
                <a:latin typeface="Trebuchet MS" panose="020B0703020202090204" pitchFamily="34" charset="0"/>
              </a:rPr>
              <a:t>Director of Maritime Transport at </a:t>
            </a:r>
            <a:r>
              <a:rPr lang="en-US" sz="1600" dirty="0" err="1">
                <a:solidFill>
                  <a:prstClr val="white"/>
                </a:solidFill>
                <a:latin typeface="Trebuchet MS" panose="020B0703020202090204" pitchFamily="34" charset="0"/>
              </a:rPr>
              <a:t>Transpetro</a:t>
            </a:r>
            <a:endParaRPr lang="en-US" sz="1600" dirty="0">
              <a:solidFill>
                <a:prstClr val="white"/>
              </a:solidFill>
              <a:latin typeface="Trebuchet MS" panose="020B0703020202090204" pitchFamily="34" charset="0"/>
            </a:endParaRPr>
          </a:p>
          <a:p>
            <a:pPr algn="ctr" defTabSz="914354">
              <a:defRPr/>
            </a:pPr>
            <a:r>
              <a:rPr lang="en-US" sz="1600" dirty="0">
                <a:solidFill>
                  <a:prstClr val="white"/>
                </a:solidFill>
                <a:latin typeface="Trebuchet MS" panose="020B0703020202090204" pitchFamily="34" charset="0"/>
              </a:rPr>
              <a:t>cmt.jones@transpetro.com.br</a:t>
            </a:r>
          </a:p>
          <a:p>
            <a:pPr algn="ctr" defTabSz="914354">
              <a:defRPr/>
            </a:pPr>
            <a:endParaRPr lang="en-US" sz="1600" dirty="0">
              <a:solidFill>
                <a:prstClr val="white"/>
              </a:solidFill>
              <a:latin typeface="Trebuchet MS" panose="020B0703020202090204" pitchFamily="34" charset="0"/>
            </a:endParaRPr>
          </a:p>
          <a:p>
            <a:pPr algn="ctr" defTabSz="914354">
              <a:defRPr/>
            </a:pPr>
            <a:endParaRPr lang="en-US" sz="1600" dirty="0">
              <a:solidFill>
                <a:prstClr val="white"/>
              </a:solidFill>
              <a:latin typeface="Trebuchet MS" panose="020B0703020202090204" pitchFamily="34" charset="0"/>
            </a:endParaRPr>
          </a:p>
          <a:p>
            <a:pPr algn="ctr" defTabSz="914354">
              <a:defRPr/>
            </a:pPr>
            <a:endParaRPr lang="pt-BR" dirty="0">
              <a:solidFill>
                <a:prstClr val="white"/>
              </a:solidFill>
              <a:latin typeface="Trebuchet MS" panose="020B0703020202090204" pitchFamily="34" charset="0"/>
            </a:endParaRPr>
          </a:p>
        </p:txBody>
      </p:sp>
      <p:sp>
        <p:nvSpPr>
          <p:cNvPr id="2" name="Elipse 1">
            <a:extLst>
              <a:ext uri="{FF2B5EF4-FFF2-40B4-BE49-F238E27FC236}">
                <a16:creationId xmlns:a16="http://schemas.microsoft.com/office/drawing/2014/main" id="{EE3AAD03-C42C-8E31-48DA-B01C7FC66615}"/>
              </a:ext>
            </a:extLst>
          </p:cNvPr>
          <p:cNvSpPr/>
          <p:nvPr/>
        </p:nvSpPr>
        <p:spPr>
          <a:xfrm>
            <a:off x="11685200" y="6374990"/>
            <a:ext cx="398310" cy="398207"/>
          </a:xfrm>
          <a:prstGeom prst="ellipse">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800" b="1" dirty="0">
                <a:solidFill>
                  <a:srgbClr val="006199"/>
                </a:solidFill>
              </a:rPr>
              <a:t>P</a:t>
            </a:r>
          </a:p>
        </p:txBody>
      </p:sp>
      <p:pic>
        <p:nvPicPr>
          <p:cNvPr id="5" name="Imagem 4">
            <a:extLst>
              <a:ext uri="{FF2B5EF4-FFF2-40B4-BE49-F238E27FC236}">
                <a16:creationId xmlns:a16="http://schemas.microsoft.com/office/drawing/2014/main" id="{B7F9D411-26F9-2B2E-B071-2C178BB7802E}"/>
              </a:ext>
            </a:extLst>
          </p:cNvPr>
          <p:cNvPicPr>
            <a:picLocks noChangeAspect="1"/>
          </p:cNvPicPr>
          <p:nvPr/>
        </p:nvPicPr>
        <p:blipFill>
          <a:blip r:embed="rId4"/>
          <a:stretch>
            <a:fillRect/>
          </a:stretch>
        </p:blipFill>
        <p:spPr>
          <a:xfrm>
            <a:off x="8019863" y="5201176"/>
            <a:ext cx="2133788" cy="862595"/>
          </a:xfrm>
          <a:prstGeom prst="rect">
            <a:avLst/>
          </a:prstGeom>
        </p:spPr>
      </p:pic>
    </p:spTree>
    <p:extLst>
      <p:ext uri="{BB962C8B-B14F-4D97-AF65-F5344CB8AC3E}">
        <p14:creationId xmlns:p14="http://schemas.microsoft.com/office/powerpoint/2010/main" val="2278229623"/>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9955D3-9387-E5CE-94F3-A14A8AFF8EB1}"/>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81D3DA01-51AB-8E54-1C21-BE07BF0FCE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4" imgW="592" imgH="591" progId="TCLayout.ActiveDocument.1">
                  <p:embed/>
                </p:oleObj>
              </mc:Choice>
              <mc:Fallback>
                <p:oleObj name="Slide do think-cell" r:id="rId4" imgW="592" imgH="591" progId="TCLayout.ActiveDocument.1">
                  <p:embed/>
                  <p:pic>
                    <p:nvPicPr>
                      <p:cNvPr id="18" name="think-cell data - do not delete" hidden="1">
                        <a:extLst>
                          <a:ext uri="{FF2B5EF4-FFF2-40B4-BE49-F238E27FC236}">
                            <a16:creationId xmlns:a16="http://schemas.microsoft.com/office/drawing/2014/main" id="{81D3DA01-51AB-8E54-1C21-BE07BF0FCE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4" name="Gráfico 23">
            <a:extLst>
              <a:ext uri="{FF2B5EF4-FFF2-40B4-BE49-F238E27FC236}">
                <a16:creationId xmlns:a16="http://schemas.microsoft.com/office/drawing/2014/main" id="{4C2FC4FD-2E09-3BBA-0F9D-C289230E7BA1}"/>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0" y="0"/>
            <a:ext cx="12192000" cy="6858000"/>
          </a:xfrm>
          <a:prstGeom prst="rect">
            <a:avLst/>
          </a:prstGeom>
        </p:spPr>
      </p:pic>
      <p:grpSp>
        <p:nvGrpSpPr>
          <p:cNvPr id="31" name="Agrupar 30">
            <a:extLst>
              <a:ext uri="{FF2B5EF4-FFF2-40B4-BE49-F238E27FC236}">
                <a16:creationId xmlns:a16="http://schemas.microsoft.com/office/drawing/2014/main" id="{559CADBE-4CDB-DBD7-B75F-B826163814B3}"/>
              </a:ext>
            </a:extLst>
          </p:cNvPr>
          <p:cNvGrpSpPr/>
          <p:nvPr/>
        </p:nvGrpSpPr>
        <p:grpSpPr>
          <a:xfrm>
            <a:off x="0" y="0"/>
            <a:ext cx="12192000" cy="6556877"/>
            <a:chOff x="0" y="0"/>
            <a:chExt cx="12192000" cy="6556877"/>
          </a:xfrm>
        </p:grpSpPr>
        <p:pic>
          <p:nvPicPr>
            <p:cNvPr id="26" name="Gráfico 25">
              <a:extLst>
                <a:ext uri="{FF2B5EF4-FFF2-40B4-BE49-F238E27FC236}">
                  <a16:creationId xmlns:a16="http://schemas.microsoft.com/office/drawing/2014/main" id="{6E705856-7B64-E58A-79E5-2CF14EA4604C}"/>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0" y="4839694"/>
              <a:ext cx="12192000" cy="1717183"/>
            </a:xfrm>
            <a:prstGeom prst="rect">
              <a:avLst/>
            </a:prstGeom>
          </p:spPr>
        </p:pic>
        <p:sp>
          <p:nvSpPr>
            <p:cNvPr id="30" name="Retângulo 29">
              <a:extLst>
                <a:ext uri="{FF2B5EF4-FFF2-40B4-BE49-F238E27FC236}">
                  <a16:creationId xmlns:a16="http://schemas.microsoft.com/office/drawing/2014/main" id="{A2A10077-2673-7F0E-3C02-51938CA48B75}"/>
                </a:ext>
              </a:extLst>
            </p:cNvPr>
            <p:cNvSpPr/>
            <p:nvPr/>
          </p:nvSpPr>
          <p:spPr>
            <a:xfrm>
              <a:off x="0" y="0"/>
              <a:ext cx="12192000" cy="519611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sp>
        <p:nvSpPr>
          <p:cNvPr id="15" name="Retângulo 14">
            <a:extLst>
              <a:ext uri="{FF2B5EF4-FFF2-40B4-BE49-F238E27FC236}">
                <a16:creationId xmlns:a16="http://schemas.microsoft.com/office/drawing/2014/main" id="{FD180723-0382-95A7-94B2-F21E353A7CB9}"/>
              </a:ext>
            </a:extLst>
          </p:cNvPr>
          <p:cNvSpPr>
            <a:spLocks noGrp="1" noRot="1" noMove="1" noResize="1" noEditPoints="1" noAdjustHandles="1" noChangeArrowheads="1" noChangeShapeType="1"/>
          </p:cNvSpPr>
          <p:nvPr/>
        </p:nvSpPr>
        <p:spPr>
          <a:xfrm>
            <a:off x="9418836" y="0"/>
            <a:ext cx="2773163" cy="99670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48" name="CaixaDeTexto 47">
            <a:extLst>
              <a:ext uri="{FF2B5EF4-FFF2-40B4-BE49-F238E27FC236}">
                <a16:creationId xmlns:a16="http://schemas.microsoft.com/office/drawing/2014/main" id="{BA21A364-BD39-F592-2DE4-380F7DDF852E}"/>
              </a:ext>
            </a:extLst>
          </p:cNvPr>
          <p:cNvSpPr txBox="1"/>
          <p:nvPr/>
        </p:nvSpPr>
        <p:spPr>
          <a:xfrm>
            <a:off x="336895" y="343109"/>
            <a:ext cx="9091711" cy="461665"/>
          </a:xfrm>
          <a:prstGeom prst="rect">
            <a:avLst/>
          </a:prstGeom>
          <a:noFill/>
        </p:spPr>
        <p:txBody>
          <a:bodyPr wrap="square">
            <a:spAutoFit/>
          </a:bodyPr>
          <a:lstStyle/>
          <a:p>
            <a:pPr marL="0" marR="0" lvl="0" indent="0" algn="l" defTabSz="1218832"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8542"/>
                </a:solidFill>
                <a:effectLst/>
                <a:uLnTx/>
                <a:uFillTx/>
                <a:latin typeface="Trebuchet MS" panose="020B0703020202090204" pitchFamily="34" charset="0"/>
                <a:ea typeface="+mn-ea"/>
                <a:cs typeface="+mn-cs"/>
              </a:rPr>
              <a:t>INTRODUCTION - WORLD OF INTERREGNUM</a:t>
            </a:r>
          </a:p>
        </p:txBody>
      </p:sp>
      <p:sp>
        <p:nvSpPr>
          <p:cNvPr id="49" name="Retângulo 48">
            <a:extLst>
              <a:ext uri="{FF2B5EF4-FFF2-40B4-BE49-F238E27FC236}">
                <a16:creationId xmlns:a16="http://schemas.microsoft.com/office/drawing/2014/main" id="{A9852F7C-E25E-F4C9-6114-BE3FB246F5CE}"/>
              </a:ext>
            </a:extLst>
          </p:cNvPr>
          <p:cNvSpPr/>
          <p:nvPr/>
        </p:nvSpPr>
        <p:spPr>
          <a:xfrm>
            <a:off x="419378" y="848159"/>
            <a:ext cx="420421" cy="41563"/>
          </a:xfrm>
          <a:prstGeom prst="rect">
            <a:avLst/>
          </a:prstGeom>
          <a:solidFill>
            <a:srgbClr val="FDC6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Trebuchet MS" panose="020B0703020202090204" pitchFamily="34" charset="0"/>
              <a:ea typeface="+mn-ea"/>
              <a:cs typeface="+mn-cs"/>
            </a:endParaRPr>
          </a:p>
        </p:txBody>
      </p:sp>
      <p:grpSp>
        <p:nvGrpSpPr>
          <p:cNvPr id="8" name="Agrupar 7">
            <a:extLst>
              <a:ext uri="{FF2B5EF4-FFF2-40B4-BE49-F238E27FC236}">
                <a16:creationId xmlns:a16="http://schemas.microsoft.com/office/drawing/2014/main" id="{7047DD09-08A8-06DD-6359-F612E5AE4D19}"/>
              </a:ext>
            </a:extLst>
          </p:cNvPr>
          <p:cNvGrpSpPr/>
          <p:nvPr/>
        </p:nvGrpSpPr>
        <p:grpSpPr>
          <a:xfrm>
            <a:off x="9920871" y="396837"/>
            <a:ext cx="1774444" cy="322756"/>
            <a:chOff x="16766445" y="10371568"/>
            <a:chExt cx="2926190" cy="532249"/>
          </a:xfrm>
        </p:grpSpPr>
        <p:sp>
          <p:nvSpPr>
            <p:cNvPr id="11" name="object 115">
              <a:extLst>
                <a:ext uri="{FF2B5EF4-FFF2-40B4-BE49-F238E27FC236}">
                  <a16:creationId xmlns:a16="http://schemas.microsoft.com/office/drawing/2014/main" id="{ED6B4771-5628-B6FC-6B3C-F3A1A7C056E1}"/>
                </a:ext>
              </a:extLst>
            </p:cNvPr>
            <p:cNvSpPr/>
            <p:nvPr/>
          </p:nvSpPr>
          <p:spPr>
            <a:xfrm>
              <a:off x="16766555" y="10561552"/>
              <a:ext cx="2926080" cy="342265"/>
            </a:xfrm>
            <a:custGeom>
              <a:avLst/>
              <a:gdLst/>
              <a:ahLst/>
              <a:cxnLst/>
              <a:rect l="l" t="t" r="r" b="b"/>
              <a:pathLst>
                <a:path w="2926080" h="342265">
                  <a:moveTo>
                    <a:pt x="846424" y="57034"/>
                  </a:moveTo>
                  <a:lnTo>
                    <a:pt x="781588" y="57034"/>
                  </a:lnTo>
                  <a:lnTo>
                    <a:pt x="740490" y="202192"/>
                  </a:lnTo>
                  <a:lnTo>
                    <a:pt x="804970" y="202192"/>
                  </a:lnTo>
                  <a:lnTo>
                    <a:pt x="846424" y="57034"/>
                  </a:lnTo>
                  <a:close/>
                </a:path>
                <a:path w="2926080" h="342265">
                  <a:moveTo>
                    <a:pt x="911637" y="176350"/>
                  </a:moveTo>
                  <a:lnTo>
                    <a:pt x="904537" y="202192"/>
                  </a:lnTo>
                  <a:lnTo>
                    <a:pt x="911637" y="202192"/>
                  </a:lnTo>
                  <a:lnTo>
                    <a:pt x="911637" y="176350"/>
                  </a:lnTo>
                  <a:close/>
                </a:path>
                <a:path w="2926080" h="342265">
                  <a:moveTo>
                    <a:pt x="1032073" y="5266"/>
                  </a:moveTo>
                  <a:lnTo>
                    <a:pt x="960494" y="5266"/>
                  </a:lnTo>
                  <a:lnTo>
                    <a:pt x="911637" y="176350"/>
                  </a:lnTo>
                  <a:lnTo>
                    <a:pt x="911637" y="202192"/>
                  </a:lnTo>
                  <a:lnTo>
                    <a:pt x="969017" y="202192"/>
                  </a:lnTo>
                  <a:lnTo>
                    <a:pt x="988462" y="133535"/>
                  </a:lnTo>
                  <a:lnTo>
                    <a:pt x="1032073" y="133535"/>
                  </a:lnTo>
                  <a:lnTo>
                    <a:pt x="1032073" y="90300"/>
                  </a:lnTo>
                  <a:lnTo>
                    <a:pt x="1000880" y="90300"/>
                  </a:lnTo>
                  <a:lnTo>
                    <a:pt x="1011854" y="50961"/>
                  </a:lnTo>
                  <a:lnTo>
                    <a:pt x="1032073" y="50961"/>
                  </a:lnTo>
                  <a:lnTo>
                    <a:pt x="1032073" y="5266"/>
                  </a:lnTo>
                  <a:close/>
                </a:path>
                <a:path w="2926080" h="342265">
                  <a:moveTo>
                    <a:pt x="1032073" y="171439"/>
                  </a:moveTo>
                  <a:lnTo>
                    <a:pt x="1029341" y="182273"/>
                  </a:lnTo>
                  <a:lnTo>
                    <a:pt x="1027494" y="191214"/>
                  </a:lnTo>
                  <a:lnTo>
                    <a:pt x="1026516" y="197956"/>
                  </a:lnTo>
                  <a:lnTo>
                    <a:pt x="1026387" y="202192"/>
                  </a:lnTo>
                  <a:lnTo>
                    <a:pt x="1032073" y="202192"/>
                  </a:lnTo>
                  <a:lnTo>
                    <a:pt x="1032073" y="171439"/>
                  </a:lnTo>
                  <a:close/>
                </a:path>
                <a:path w="2926080" h="342265">
                  <a:moveTo>
                    <a:pt x="1053643" y="5266"/>
                  </a:moveTo>
                  <a:lnTo>
                    <a:pt x="1032073" y="5266"/>
                  </a:lnTo>
                  <a:lnTo>
                    <a:pt x="1032073" y="50961"/>
                  </a:lnTo>
                  <a:lnTo>
                    <a:pt x="1041957" y="50961"/>
                  </a:lnTo>
                  <a:lnTo>
                    <a:pt x="1052136" y="52233"/>
                  </a:lnTo>
                  <a:lnTo>
                    <a:pt x="1059357" y="56065"/>
                  </a:lnTo>
                  <a:lnTo>
                    <a:pt x="1062931" y="62477"/>
                  </a:lnTo>
                  <a:lnTo>
                    <a:pt x="1062166" y="71495"/>
                  </a:lnTo>
                  <a:lnTo>
                    <a:pt x="1058448" y="79523"/>
                  </a:lnTo>
                  <a:lnTo>
                    <a:pt x="1052153" y="85158"/>
                  </a:lnTo>
                  <a:lnTo>
                    <a:pt x="1043342" y="88662"/>
                  </a:lnTo>
                  <a:lnTo>
                    <a:pt x="1032073" y="90300"/>
                  </a:lnTo>
                  <a:lnTo>
                    <a:pt x="1032073" y="138110"/>
                  </a:lnTo>
                  <a:lnTo>
                    <a:pt x="1035517" y="142655"/>
                  </a:lnTo>
                  <a:lnTo>
                    <a:pt x="1036578" y="148995"/>
                  </a:lnTo>
                  <a:lnTo>
                    <a:pt x="1035648" y="157338"/>
                  </a:lnTo>
                  <a:lnTo>
                    <a:pt x="1033120" y="167890"/>
                  </a:lnTo>
                  <a:lnTo>
                    <a:pt x="1032073" y="171439"/>
                  </a:lnTo>
                  <a:lnTo>
                    <a:pt x="1032073" y="202192"/>
                  </a:lnTo>
                  <a:lnTo>
                    <a:pt x="1091893" y="202192"/>
                  </a:lnTo>
                  <a:lnTo>
                    <a:pt x="1093673" y="196213"/>
                  </a:lnTo>
                  <a:lnTo>
                    <a:pt x="1089851" y="194484"/>
                  </a:lnTo>
                  <a:lnTo>
                    <a:pt x="1089574" y="188742"/>
                  </a:lnTo>
                  <a:lnTo>
                    <a:pt x="1092139" y="178155"/>
                  </a:lnTo>
                  <a:lnTo>
                    <a:pt x="1096846" y="161890"/>
                  </a:lnTo>
                  <a:lnTo>
                    <a:pt x="1101208" y="138020"/>
                  </a:lnTo>
                  <a:lnTo>
                    <a:pt x="1098638" y="123678"/>
                  </a:lnTo>
                  <a:lnTo>
                    <a:pt x="1090477" y="115329"/>
                  </a:lnTo>
                  <a:lnTo>
                    <a:pt x="1078071" y="109441"/>
                  </a:lnTo>
                  <a:lnTo>
                    <a:pt x="1094089" y="102911"/>
                  </a:lnTo>
                  <a:lnTo>
                    <a:pt x="1107053" y="92859"/>
                  </a:lnTo>
                  <a:lnTo>
                    <a:pt x="1116961" y="80026"/>
                  </a:lnTo>
                  <a:lnTo>
                    <a:pt x="1123808" y="65149"/>
                  </a:lnTo>
                  <a:lnTo>
                    <a:pt x="1123808" y="25465"/>
                  </a:lnTo>
                  <a:lnTo>
                    <a:pt x="1114887" y="16491"/>
                  </a:lnTo>
                  <a:lnTo>
                    <a:pt x="1100548" y="10194"/>
                  </a:lnTo>
                  <a:lnTo>
                    <a:pt x="1080298" y="6483"/>
                  </a:lnTo>
                  <a:lnTo>
                    <a:pt x="1053643" y="5266"/>
                  </a:lnTo>
                  <a:close/>
                </a:path>
                <a:path w="2926080" h="342265">
                  <a:moveTo>
                    <a:pt x="1123808" y="196213"/>
                  </a:moveTo>
                  <a:lnTo>
                    <a:pt x="1119882" y="202192"/>
                  </a:lnTo>
                  <a:lnTo>
                    <a:pt x="1123808" y="202192"/>
                  </a:lnTo>
                  <a:lnTo>
                    <a:pt x="1123808" y="196213"/>
                  </a:lnTo>
                  <a:close/>
                </a:path>
                <a:path w="2926080" h="342265">
                  <a:moveTo>
                    <a:pt x="1242443" y="11675"/>
                  </a:moveTo>
                  <a:lnTo>
                    <a:pt x="1123808" y="196213"/>
                  </a:lnTo>
                  <a:lnTo>
                    <a:pt x="1123808" y="202192"/>
                  </a:lnTo>
                  <a:lnTo>
                    <a:pt x="1183314" y="202192"/>
                  </a:lnTo>
                  <a:lnTo>
                    <a:pt x="1198172" y="176350"/>
                  </a:lnTo>
                  <a:lnTo>
                    <a:pt x="1242443" y="176350"/>
                  </a:lnTo>
                  <a:lnTo>
                    <a:pt x="1242443" y="135294"/>
                  </a:lnTo>
                  <a:lnTo>
                    <a:pt x="1221910" y="135294"/>
                  </a:lnTo>
                  <a:lnTo>
                    <a:pt x="1242443" y="99159"/>
                  </a:lnTo>
                  <a:lnTo>
                    <a:pt x="1242443" y="11675"/>
                  </a:lnTo>
                  <a:close/>
                </a:path>
                <a:path w="2926080" h="342265">
                  <a:moveTo>
                    <a:pt x="1316746" y="64458"/>
                  </a:moveTo>
                  <a:lnTo>
                    <a:pt x="1261940" y="64458"/>
                  </a:lnTo>
                  <a:lnTo>
                    <a:pt x="1262631" y="135294"/>
                  </a:lnTo>
                  <a:lnTo>
                    <a:pt x="1242443" y="135294"/>
                  </a:lnTo>
                  <a:lnTo>
                    <a:pt x="1242443" y="176350"/>
                  </a:lnTo>
                  <a:lnTo>
                    <a:pt x="1262296" y="176350"/>
                  </a:lnTo>
                  <a:lnTo>
                    <a:pt x="1262631" y="202192"/>
                  </a:lnTo>
                  <a:lnTo>
                    <a:pt x="1327153" y="202192"/>
                  </a:lnTo>
                  <a:lnTo>
                    <a:pt x="1316746" y="64458"/>
                  </a:lnTo>
                  <a:close/>
                </a:path>
                <a:path w="2926080" h="342265">
                  <a:moveTo>
                    <a:pt x="1032073" y="133535"/>
                  </a:moveTo>
                  <a:lnTo>
                    <a:pt x="1020356" y="133535"/>
                  </a:lnTo>
                  <a:lnTo>
                    <a:pt x="1027832" y="134938"/>
                  </a:lnTo>
                  <a:lnTo>
                    <a:pt x="1032073" y="138110"/>
                  </a:lnTo>
                  <a:lnTo>
                    <a:pt x="1032073" y="133535"/>
                  </a:lnTo>
                  <a:close/>
                </a:path>
                <a:path w="2926080" h="342265">
                  <a:moveTo>
                    <a:pt x="1312274" y="5266"/>
                  </a:moveTo>
                  <a:lnTo>
                    <a:pt x="1246695" y="5266"/>
                  </a:lnTo>
                  <a:lnTo>
                    <a:pt x="1242443" y="11675"/>
                  </a:lnTo>
                  <a:lnTo>
                    <a:pt x="1242443" y="99159"/>
                  </a:lnTo>
                  <a:lnTo>
                    <a:pt x="1261940" y="64458"/>
                  </a:lnTo>
                  <a:lnTo>
                    <a:pt x="1316746" y="64458"/>
                  </a:lnTo>
                  <a:lnTo>
                    <a:pt x="1312274" y="5266"/>
                  </a:lnTo>
                  <a:close/>
                </a:path>
                <a:path w="2926080" h="342265">
                  <a:moveTo>
                    <a:pt x="1123808" y="25465"/>
                  </a:moveTo>
                  <a:lnTo>
                    <a:pt x="1123808" y="65149"/>
                  </a:lnTo>
                  <a:lnTo>
                    <a:pt x="1124824" y="61254"/>
                  </a:lnTo>
                  <a:lnTo>
                    <a:pt x="1127276" y="50638"/>
                  </a:lnTo>
                  <a:lnTo>
                    <a:pt x="1128058" y="41113"/>
                  </a:lnTo>
                  <a:lnTo>
                    <a:pt x="1126969" y="32712"/>
                  </a:lnTo>
                  <a:lnTo>
                    <a:pt x="1123808" y="25465"/>
                  </a:lnTo>
                  <a:close/>
                </a:path>
                <a:path w="2926080" h="342265">
                  <a:moveTo>
                    <a:pt x="911637" y="5266"/>
                  </a:moveTo>
                  <a:lnTo>
                    <a:pt x="738354" y="5266"/>
                  </a:lnTo>
                  <a:lnTo>
                    <a:pt x="723517" y="57034"/>
                  </a:lnTo>
                  <a:lnTo>
                    <a:pt x="904537" y="57034"/>
                  </a:lnTo>
                  <a:lnTo>
                    <a:pt x="911637" y="31150"/>
                  </a:lnTo>
                  <a:lnTo>
                    <a:pt x="911637" y="5266"/>
                  </a:lnTo>
                  <a:close/>
                </a:path>
                <a:path w="2926080" h="342265">
                  <a:moveTo>
                    <a:pt x="919040" y="5266"/>
                  </a:moveTo>
                  <a:lnTo>
                    <a:pt x="911637" y="5266"/>
                  </a:lnTo>
                  <a:lnTo>
                    <a:pt x="911637" y="31150"/>
                  </a:lnTo>
                  <a:lnTo>
                    <a:pt x="919040" y="5266"/>
                  </a:lnTo>
                  <a:close/>
                </a:path>
                <a:path w="2926080" h="342265">
                  <a:moveTo>
                    <a:pt x="1678168" y="141660"/>
                  </a:moveTo>
                  <a:lnTo>
                    <a:pt x="1616526" y="141660"/>
                  </a:lnTo>
                  <a:lnTo>
                    <a:pt x="1616162" y="166898"/>
                  </a:lnTo>
                  <a:lnTo>
                    <a:pt x="1627883" y="187885"/>
                  </a:lnTo>
                  <a:lnTo>
                    <a:pt x="1651025" y="202230"/>
                  </a:lnTo>
                  <a:lnTo>
                    <a:pt x="1684922" y="207543"/>
                  </a:lnTo>
                  <a:lnTo>
                    <a:pt x="1723576" y="203340"/>
                  </a:lnTo>
                  <a:lnTo>
                    <a:pt x="1756382" y="190666"/>
                  </a:lnTo>
                  <a:lnTo>
                    <a:pt x="1781352" y="169430"/>
                  </a:lnTo>
                  <a:lnTo>
                    <a:pt x="1785014" y="162204"/>
                  </a:lnTo>
                  <a:lnTo>
                    <a:pt x="1695204" y="162204"/>
                  </a:lnTo>
                  <a:lnTo>
                    <a:pt x="1688786" y="160445"/>
                  </a:lnTo>
                  <a:lnTo>
                    <a:pt x="1684535" y="157230"/>
                  </a:lnTo>
                  <a:lnTo>
                    <a:pt x="1679959" y="153723"/>
                  </a:lnTo>
                  <a:lnTo>
                    <a:pt x="1677833" y="148749"/>
                  </a:lnTo>
                  <a:lnTo>
                    <a:pt x="1678168" y="141660"/>
                  </a:lnTo>
                  <a:close/>
                </a:path>
                <a:path w="2926080" h="342265">
                  <a:moveTo>
                    <a:pt x="1746575" y="0"/>
                  </a:moveTo>
                  <a:lnTo>
                    <a:pt x="1711326" y="3919"/>
                  </a:lnTo>
                  <a:lnTo>
                    <a:pt x="1680889" y="15702"/>
                  </a:lnTo>
                  <a:lnTo>
                    <a:pt x="1657433" y="35387"/>
                  </a:lnTo>
                  <a:lnTo>
                    <a:pt x="1643122" y="63013"/>
                  </a:lnTo>
                  <a:lnTo>
                    <a:pt x="1645061" y="97763"/>
                  </a:lnTo>
                  <a:lnTo>
                    <a:pt x="1667805" y="116579"/>
                  </a:lnTo>
                  <a:lnTo>
                    <a:pt x="1698502" y="126487"/>
                  </a:lnTo>
                  <a:lnTo>
                    <a:pt x="1724299" y="134513"/>
                  </a:lnTo>
                  <a:lnTo>
                    <a:pt x="1732345" y="147681"/>
                  </a:lnTo>
                  <a:lnTo>
                    <a:pt x="1728800" y="153837"/>
                  </a:lnTo>
                  <a:lnTo>
                    <a:pt x="1722156" y="158398"/>
                  </a:lnTo>
                  <a:lnTo>
                    <a:pt x="1712914" y="161231"/>
                  </a:lnTo>
                  <a:lnTo>
                    <a:pt x="1701571" y="162204"/>
                  </a:lnTo>
                  <a:lnTo>
                    <a:pt x="1785014" y="162204"/>
                  </a:lnTo>
                  <a:lnTo>
                    <a:pt x="1796500" y="139535"/>
                  </a:lnTo>
                  <a:lnTo>
                    <a:pt x="1789973" y="100529"/>
                  </a:lnTo>
                  <a:lnTo>
                    <a:pt x="1756214" y="82271"/>
                  </a:lnTo>
                  <a:lnTo>
                    <a:pt x="1720204" y="71914"/>
                  </a:lnTo>
                  <a:lnTo>
                    <a:pt x="1706921" y="56616"/>
                  </a:lnTo>
                  <a:lnTo>
                    <a:pt x="1709501" y="51864"/>
                  </a:lnTo>
                  <a:lnTo>
                    <a:pt x="1714227" y="48312"/>
                  </a:lnTo>
                  <a:lnTo>
                    <a:pt x="1721219" y="46087"/>
                  </a:lnTo>
                  <a:lnTo>
                    <a:pt x="1730596" y="45317"/>
                  </a:lnTo>
                  <a:lnTo>
                    <a:pt x="1812738" y="45317"/>
                  </a:lnTo>
                  <a:lnTo>
                    <a:pt x="1812563" y="38086"/>
                  </a:lnTo>
                  <a:lnTo>
                    <a:pt x="1802310" y="18274"/>
                  </a:lnTo>
                  <a:lnTo>
                    <a:pt x="1780832" y="4905"/>
                  </a:lnTo>
                  <a:lnTo>
                    <a:pt x="1746575" y="0"/>
                  </a:lnTo>
                  <a:close/>
                </a:path>
                <a:path w="2926080" h="342265">
                  <a:moveTo>
                    <a:pt x="1812738" y="45317"/>
                  </a:moveTo>
                  <a:lnTo>
                    <a:pt x="1737004" y="45317"/>
                  </a:lnTo>
                  <a:lnTo>
                    <a:pt x="1742292" y="46386"/>
                  </a:lnTo>
                  <a:lnTo>
                    <a:pt x="1750135" y="51338"/>
                  </a:lnTo>
                  <a:lnTo>
                    <a:pt x="1752574" y="55621"/>
                  </a:lnTo>
                  <a:lnTo>
                    <a:pt x="1751883" y="62322"/>
                  </a:lnTo>
                  <a:lnTo>
                    <a:pt x="1813148" y="62322"/>
                  </a:lnTo>
                  <a:lnTo>
                    <a:pt x="1812738" y="45317"/>
                  </a:lnTo>
                  <a:close/>
                </a:path>
                <a:path w="2926080" h="342265">
                  <a:moveTo>
                    <a:pt x="1481232" y="5266"/>
                  </a:moveTo>
                  <a:lnTo>
                    <a:pt x="1421035" y="5266"/>
                  </a:lnTo>
                  <a:lnTo>
                    <a:pt x="1365036" y="202192"/>
                  </a:lnTo>
                  <a:lnTo>
                    <a:pt x="1427014" y="202192"/>
                  </a:lnTo>
                  <a:lnTo>
                    <a:pt x="1444395" y="139911"/>
                  </a:lnTo>
                  <a:lnTo>
                    <a:pt x="1454678" y="94876"/>
                  </a:lnTo>
                  <a:lnTo>
                    <a:pt x="1514618" y="94876"/>
                  </a:lnTo>
                  <a:lnTo>
                    <a:pt x="1481232" y="5266"/>
                  </a:lnTo>
                  <a:close/>
                </a:path>
                <a:path w="2926080" h="342265">
                  <a:moveTo>
                    <a:pt x="1514618" y="94876"/>
                  </a:moveTo>
                  <a:lnTo>
                    <a:pt x="1454678" y="94876"/>
                  </a:lnTo>
                  <a:lnTo>
                    <a:pt x="1494666" y="202192"/>
                  </a:lnTo>
                  <a:lnTo>
                    <a:pt x="1555282" y="202192"/>
                  </a:lnTo>
                  <a:lnTo>
                    <a:pt x="1580728" y="112624"/>
                  </a:lnTo>
                  <a:lnTo>
                    <a:pt x="1521231" y="112624"/>
                  </a:lnTo>
                  <a:lnTo>
                    <a:pt x="1514618" y="94876"/>
                  </a:lnTo>
                  <a:close/>
                </a:path>
                <a:path w="2926080" h="342265">
                  <a:moveTo>
                    <a:pt x="1611228" y="5266"/>
                  </a:moveTo>
                  <a:lnTo>
                    <a:pt x="1549251" y="5266"/>
                  </a:lnTo>
                  <a:lnTo>
                    <a:pt x="1531555" y="67987"/>
                  </a:lnTo>
                  <a:lnTo>
                    <a:pt x="1521231" y="112624"/>
                  </a:lnTo>
                  <a:lnTo>
                    <a:pt x="1580728" y="112624"/>
                  </a:lnTo>
                  <a:lnTo>
                    <a:pt x="1611228" y="5266"/>
                  </a:lnTo>
                  <a:close/>
                </a:path>
                <a:path w="2926080" h="342265">
                  <a:moveTo>
                    <a:pt x="1944935" y="5266"/>
                  </a:moveTo>
                  <a:lnTo>
                    <a:pt x="1875503" y="5266"/>
                  </a:lnTo>
                  <a:lnTo>
                    <a:pt x="1819546" y="202192"/>
                  </a:lnTo>
                  <a:lnTo>
                    <a:pt x="1884340" y="202192"/>
                  </a:lnTo>
                  <a:lnTo>
                    <a:pt x="1901722" y="140980"/>
                  </a:lnTo>
                  <a:lnTo>
                    <a:pt x="1941385" y="140980"/>
                  </a:lnTo>
                  <a:lnTo>
                    <a:pt x="1944935" y="140634"/>
                  </a:lnTo>
                  <a:lnTo>
                    <a:pt x="1944935" y="94876"/>
                  </a:lnTo>
                  <a:lnTo>
                    <a:pt x="1914800" y="94876"/>
                  </a:lnTo>
                  <a:lnTo>
                    <a:pt x="1927218" y="50961"/>
                  </a:lnTo>
                  <a:lnTo>
                    <a:pt x="1944935" y="50961"/>
                  </a:lnTo>
                  <a:lnTo>
                    <a:pt x="1944935" y="5266"/>
                  </a:lnTo>
                  <a:close/>
                </a:path>
                <a:path w="2926080" h="342265">
                  <a:moveTo>
                    <a:pt x="1970756" y="5266"/>
                  </a:moveTo>
                  <a:lnTo>
                    <a:pt x="1944935" y="5266"/>
                  </a:lnTo>
                  <a:lnTo>
                    <a:pt x="1944935" y="50961"/>
                  </a:lnTo>
                  <a:lnTo>
                    <a:pt x="1945626" y="50961"/>
                  </a:lnTo>
                  <a:lnTo>
                    <a:pt x="1956634" y="51643"/>
                  </a:lnTo>
                  <a:lnTo>
                    <a:pt x="1967014" y="54521"/>
                  </a:lnTo>
                  <a:lnTo>
                    <a:pt x="1973878" y="60847"/>
                  </a:lnTo>
                  <a:lnTo>
                    <a:pt x="1974337" y="71872"/>
                  </a:lnTo>
                  <a:lnTo>
                    <a:pt x="1969699" y="82094"/>
                  </a:lnTo>
                  <a:lnTo>
                    <a:pt x="1962966" y="89087"/>
                  </a:lnTo>
                  <a:lnTo>
                    <a:pt x="1954568" y="93224"/>
                  </a:lnTo>
                  <a:lnTo>
                    <a:pt x="1944935" y="94876"/>
                  </a:lnTo>
                  <a:lnTo>
                    <a:pt x="1944935" y="140634"/>
                  </a:lnTo>
                  <a:lnTo>
                    <a:pt x="2005067" y="119882"/>
                  </a:lnTo>
                  <a:lnTo>
                    <a:pt x="2035969" y="71495"/>
                  </a:lnTo>
                  <a:lnTo>
                    <a:pt x="2038543" y="44126"/>
                  </a:lnTo>
                  <a:lnTo>
                    <a:pt x="2028885" y="23251"/>
                  </a:lnTo>
                  <a:lnTo>
                    <a:pt x="2006467" y="9941"/>
                  </a:lnTo>
                  <a:lnTo>
                    <a:pt x="1970756" y="5266"/>
                  </a:lnTo>
                  <a:close/>
                </a:path>
                <a:path w="2926080" h="342265">
                  <a:moveTo>
                    <a:pt x="2255606" y="5266"/>
                  </a:moveTo>
                  <a:lnTo>
                    <a:pt x="2094773" y="5266"/>
                  </a:lnTo>
                  <a:lnTo>
                    <a:pt x="2038817" y="202192"/>
                  </a:lnTo>
                  <a:lnTo>
                    <a:pt x="2203524" y="202192"/>
                  </a:lnTo>
                  <a:lnTo>
                    <a:pt x="2216655" y="156204"/>
                  </a:lnTo>
                  <a:lnTo>
                    <a:pt x="2116375" y="156204"/>
                  </a:lnTo>
                  <a:lnTo>
                    <a:pt x="2125233" y="125388"/>
                  </a:lnTo>
                  <a:lnTo>
                    <a:pt x="2206707" y="125388"/>
                  </a:lnTo>
                  <a:lnTo>
                    <a:pt x="2219827" y="79337"/>
                  </a:lnTo>
                  <a:lnTo>
                    <a:pt x="2138353" y="79337"/>
                  </a:lnTo>
                  <a:lnTo>
                    <a:pt x="2146489" y="50961"/>
                  </a:lnTo>
                  <a:lnTo>
                    <a:pt x="2242518" y="50961"/>
                  </a:lnTo>
                  <a:lnTo>
                    <a:pt x="2255606" y="5266"/>
                  </a:lnTo>
                  <a:close/>
                </a:path>
                <a:path w="2926080" h="342265">
                  <a:moveTo>
                    <a:pt x="2404408" y="57034"/>
                  </a:moveTo>
                  <a:lnTo>
                    <a:pt x="2339530" y="57034"/>
                  </a:lnTo>
                  <a:lnTo>
                    <a:pt x="2298453" y="202192"/>
                  </a:lnTo>
                  <a:lnTo>
                    <a:pt x="2362943" y="202192"/>
                  </a:lnTo>
                  <a:lnTo>
                    <a:pt x="2404408" y="57034"/>
                  </a:lnTo>
                  <a:close/>
                </a:path>
                <a:path w="2926080" h="342265">
                  <a:moveTo>
                    <a:pt x="2469893" y="176350"/>
                  </a:moveTo>
                  <a:lnTo>
                    <a:pt x="2462500" y="202192"/>
                  </a:lnTo>
                  <a:lnTo>
                    <a:pt x="2469893" y="202192"/>
                  </a:lnTo>
                  <a:lnTo>
                    <a:pt x="2469893" y="176350"/>
                  </a:lnTo>
                  <a:close/>
                </a:path>
                <a:path w="2926080" h="342265">
                  <a:moveTo>
                    <a:pt x="2590004" y="5266"/>
                  </a:moveTo>
                  <a:lnTo>
                    <a:pt x="2518436" y="5266"/>
                  </a:lnTo>
                  <a:lnTo>
                    <a:pt x="2469893" y="176350"/>
                  </a:lnTo>
                  <a:lnTo>
                    <a:pt x="2469893" y="202192"/>
                  </a:lnTo>
                  <a:lnTo>
                    <a:pt x="2526959" y="202192"/>
                  </a:lnTo>
                  <a:lnTo>
                    <a:pt x="2546833" y="133535"/>
                  </a:lnTo>
                  <a:lnTo>
                    <a:pt x="2590004" y="133535"/>
                  </a:lnTo>
                  <a:lnTo>
                    <a:pt x="2590004" y="90300"/>
                  </a:lnTo>
                  <a:lnTo>
                    <a:pt x="2558812" y="90300"/>
                  </a:lnTo>
                  <a:lnTo>
                    <a:pt x="2570193" y="50961"/>
                  </a:lnTo>
                  <a:lnTo>
                    <a:pt x="2590004" y="50961"/>
                  </a:lnTo>
                  <a:lnTo>
                    <a:pt x="2590004" y="5266"/>
                  </a:lnTo>
                  <a:close/>
                </a:path>
                <a:path w="2926080" h="342265">
                  <a:moveTo>
                    <a:pt x="2590004" y="171439"/>
                  </a:moveTo>
                  <a:lnTo>
                    <a:pt x="2587335" y="182273"/>
                  </a:lnTo>
                  <a:lnTo>
                    <a:pt x="2585621" y="191214"/>
                  </a:lnTo>
                  <a:lnTo>
                    <a:pt x="2584761" y="197956"/>
                  </a:lnTo>
                  <a:lnTo>
                    <a:pt x="2584654" y="202192"/>
                  </a:lnTo>
                  <a:lnTo>
                    <a:pt x="2590004" y="202192"/>
                  </a:lnTo>
                  <a:lnTo>
                    <a:pt x="2590004" y="171439"/>
                  </a:lnTo>
                  <a:close/>
                </a:path>
                <a:path w="2926080" h="342265">
                  <a:moveTo>
                    <a:pt x="2611606" y="5266"/>
                  </a:moveTo>
                  <a:lnTo>
                    <a:pt x="2590004" y="5266"/>
                  </a:lnTo>
                  <a:lnTo>
                    <a:pt x="2590004" y="50961"/>
                  </a:lnTo>
                  <a:lnTo>
                    <a:pt x="2600287" y="50961"/>
                  </a:lnTo>
                  <a:lnTo>
                    <a:pt x="2610264" y="52233"/>
                  </a:lnTo>
                  <a:lnTo>
                    <a:pt x="2617424" y="56065"/>
                  </a:lnTo>
                  <a:lnTo>
                    <a:pt x="2621059" y="62477"/>
                  </a:lnTo>
                  <a:lnTo>
                    <a:pt x="2620464" y="71495"/>
                  </a:lnTo>
                  <a:lnTo>
                    <a:pt x="2616546" y="79523"/>
                  </a:lnTo>
                  <a:lnTo>
                    <a:pt x="2610139" y="85158"/>
                  </a:lnTo>
                  <a:lnTo>
                    <a:pt x="2601279" y="88662"/>
                  </a:lnTo>
                  <a:lnTo>
                    <a:pt x="2590004" y="90300"/>
                  </a:lnTo>
                  <a:lnTo>
                    <a:pt x="2590004" y="138110"/>
                  </a:lnTo>
                  <a:lnTo>
                    <a:pt x="2593657" y="142655"/>
                  </a:lnTo>
                  <a:lnTo>
                    <a:pt x="2594791" y="148995"/>
                  </a:lnTo>
                  <a:lnTo>
                    <a:pt x="2593799" y="157338"/>
                  </a:lnTo>
                  <a:lnTo>
                    <a:pt x="2591072" y="167890"/>
                  </a:lnTo>
                  <a:lnTo>
                    <a:pt x="2590004" y="171439"/>
                  </a:lnTo>
                  <a:lnTo>
                    <a:pt x="2590004" y="202192"/>
                  </a:lnTo>
                  <a:lnTo>
                    <a:pt x="2650243" y="202192"/>
                  </a:lnTo>
                  <a:lnTo>
                    <a:pt x="2651667" y="196213"/>
                  </a:lnTo>
                  <a:lnTo>
                    <a:pt x="2647966" y="194484"/>
                  </a:lnTo>
                  <a:lnTo>
                    <a:pt x="2647661" y="188742"/>
                  </a:lnTo>
                  <a:lnTo>
                    <a:pt x="2650158" y="178155"/>
                  </a:lnTo>
                  <a:lnTo>
                    <a:pt x="2654861" y="161890"/>
                  </a:lnTo>
                  <a:lnTo>
                    <a:pt x="2659330" y="138020"/>
                  </a:lnTo>
                  <a:lnTo>
                    <a:pt x="2656746" y="123678"/>
                  </a:lnTo>
                  <a:lnTo>
                    <a:pt x="2648524" y="115329"/>
                  </a:lnTo>
                  <a:lnTo>
                    <a:pt x="2636076" y="109441"/>
                  </a:lnTo>
                  <a:lnTo>
                    <a:pt x="2652933" y="102395"/>
                  </a:lnTo>
                  <a:lnTo>
                    <a:pt x="2666382" y="91442"/>
                  </a:lnTo>
                  <a:lnTo>
                    <a:pt x="2676457" y="77442"/>
                  </a:lnTo>
                  <a:lnTo>
                    <a:pt x="2683195" y="61254"/>
                  </a:lnTo>
                  <a:lnTo>
                    <a:pt x="2685751" y="36360"/>
                  </a:lnTo>
                  <a:lnTo>
                    <a:pt x="2676096" y="18909"/>
                  </a:lnTo>
                  <a:lnTo>
                    <a:pt x="2652094" y="8633"/>
                  </a:lnTo>
                  <a:lnTo>
                    <a:pt x="2611606" y="5266"/>
                  </a:lnTo>
                  <a:close/>
                </a:path>
                <a:path w="2926080" h="342265">
                  <a:moveTo>
                    <a:pt x="2590004" y="133535"/>
                  </a:moveTo>
                  <a:lnTo>
                    <a:pt x="2578361" y="133535"/>
                  </a:lnTo>
                  <a:lnTo>
                    <a:pt x="2585764" y="134938"/>
                  </a:lnTo>
                  <a:lnTo>
                    <a:pt x="2590004" y="138110"/>
                  </a:lnTo>
                  <a:lnTo>
                    <a:pt x="2590004" y="133535"/>
                  </a:lnTo>
                  <a:close/>
                </a:path>
                <a:path w="2926080" h="342265">
                  <a:moveTo>
                    <a:pt x="2469893" y="5266"/>
                  </a:moveTo>
                  <a:lnTo>
                    <a:pt x="2296348" y="5266"/>
                  </a:lnTo>
                  <a:lnTo>
                    <a:pt x="2281469" y="57034"/>
                  </a:lnTo>
                  <a:lnTo>
                    <a:pt x="2462500" y="57034"/>
                  </a:lnTo>
                  <a:lnTo>
                    <a:pt x="2469893" y="31150"/>
                  </a:lnTo>
                  <a:lnTo>
                    <a:pt x="2469893" y="5266"/>
                  </a:lnTo>
                  <a:close/>
                </a:path>
                <a:path w="2926080" h="342265">
                  <a:moveTo>
                    <a:pt x="2476961" y="5266"/>
                  </a:moveTo>
                  <a:lnTo>
                    <a:pt x="2469893" y="5266"/>
                  </a:lnTo>
                  <a:lnTo>
                    <a:pt x="2469893" y="31150"/>
                  </a:lnTo>
                  <a:lnTo>
                    <a:pt x="2476961" y="5266"/>
                  </a:lnTo>
                  <a:close/>
                </a:path>
                <a:path w="2926080" h="342265">
                  <a:moveTo>
                    <a:pt x="2817066" y="3172"/>
                  </a:moveTo>
                  <a:lnTo>
                    <a:pt x="2752917" y="37193"/>
                  </a:lnTo>
                  <a:lnTo>
                    <a:pt x="2714032" y="102007"/>
                  </a:lnTo>
                  <a:lnTo>
                    <a:pt x="2708867" y="146888"/>
                  </a:lnTo>
                  <a:lnTo>
                    <a:pt x="2720489" y="180011"/>
                  </a:lnTo>
                  <a:lnTo>
                    <a:pt x="2747214" y="200516"/>
                  </a:lnTo>
                  <a:lnTo>
                    <a:pt x="2787360" y="207543"/>
                  </a:lnTo>
                  <a:lnTo>
                    <a:pt x="2794986" y="207348"/>
                  </a:lnTo>
                  <a:lnTo>
                    <a:pt x="2802468" y="206756"/>
                  </a:lnTo>
                  <a:lnTo>
                    <a:pt x="2809822" y="205754"/>
                  </a:lnTo>
                  <a:lnTo>
                    <a:pt x="2817066" y="204328"/>
                  </a:lnTo>
                  <a:lnTo>
                    <a:pt x="2817066" y="159377"/>
                  </a:lnTo>
                  <a:lnTo>
                    <a:pt x="2801129" y="159377"/>
                  </a:lnTo>
                  <a:lnTo>
                    <a:pt x="2783592" y="154055"/>
                  </a:lnTo>
                  <a:lnTo>
                    <a:pt x="2775597" y="140464"/>
                  </a:lnTo>
                  <a:lnTo>
                    <a:pt x="2774711" y="122165"/>
                  </a:lnTo>
                  <a:lnTo>
                    <a:pt x="2778501" y="102719"/>
                  </a:lnTo>
                  <a:lnTo>
                    <a:pt x="2784218" y="87243"/>
                  </a:lnTo>
                  <a:lnTo>
                    <a:pt x="2792467" y="72309"/>
                  </a:lnTo>
                  <a:lnTo>
                    <a:pt x="2803374" y="59640"/>
                  </a:lnTo>
                  <a:lnTo>
                    <a:pt x="2817066" y="50961"/>
                  </a:lnTo>
                  <a:lnTo>
                    <a:pt x="2817066" y="3172"/>
                  </a:lnTo>
                  <a:close/>
                </a:path>
                <a:path w="2926080" h="342265">
                  <a:moveTo>
                    <a:pt x="2921568" y="48176"/>
                  </a:moveTo>
                  <a:lnTo>
                    <a:pt x="2832322" y="48176"/>
                  </a:lnTo>
                  <a:lnTo>
                    <a:pt x="2849221" y="52599"/>
                  </a:lnTo>
                  <a:lnTo>
                    <a:pt x="2857860" y="65066"/>
                  </a:lnTo>
                  <a:lnTo>
                    <a:pt x="2849612" y="120984"/>
                  </a:lnTo>
                  <a:lnTo>
                    <a:pt x="2817066" y="156539"/>
                  </a:lnTo>
                  <a:lnTo>
                    <a:pt x="2817066" y="204328"/>
                  </a:lnTo>
                  <a:lnTo>
                    <a:pt x="2880531" y="170408"/>
                  </a:lnTo>
                  <a:lnTo>
                    <a:pt x="2904496" y="140570"/>
                  </a:lnTo>
                  <a:lnTo>
                    <a:pt x="2920853" y="102719"/>
                  </a:lnTo>
                  <a:lnTo>
                    <a:pt x="2925471" y="76154"/>
                  </a:lnTo>
                  <a:lnTo>
                    <a:pt x="2925372" y="65066"/>
                  </a:lnTo>
                  <a:lnTo>
                    <a:pt x="2921568" y="48176"/>
                  </a:lnTo>
                  <a:close/>
                </a:path>
                <a:path w="2926080" h="342265">
                  <a:moveTo>
                    <a:pt x="2817066" y="156539"/>
                  </a:moveTo>
                  <a:lnTo>
                    <a:pt x="2812092" y="158340"/>
                  </a:lnTo>
                  <a:lnTo>
                    <a:pt x="2806783" y="159377"/>
                  </a:lnTo>
                  <a:lnTo>
                    <a:pt x="2817066" y="159377"/>
                  </a:lnTo>
                  <a:lnTo>
                    <a:pt x="2817066" y="156539"/>
                  </a:lnTo>
                  <a:close/>
                </a:path>
                <a:path w="2926080" h="342265">
                  <a:moveTo>
                    <a:pt x="2846489" y="0"/>
                  </a:moveTo>
                  <a:lnTo>
                    <a:pt x="2839047" y="195"/>
                  </a:lnTo>
                  <a:lnTo>
                    <a:pt x="2831636" y="785"/>
                  </a:lnTo>
                  <a:lnTo>
                    <a:pt x="2824296" y="1775"/>
                  </a:lnTo>
                  <a:lnTo>
                    <a:pt x="2817066" y="3172"/>
                  </a:lnTo>
                  <a:lnTo>
                    <a:pt x="2817066" y="50961"/>
                  </a:lnTo>
                  <a:lnTo>
                    <a:pt x="2821641" y="49202"/>
                  </a:lnTo>
                  <a:lnTo>
                    <a:pt x="2826615" y="48176"/>
                  </a:lnTo>
                  <a:lnTo>
                    <a:pt x="2921568" y="48176"/>
                  </a:lnTo>
                  <a:lnTo>
                    <a:pt x="2919704" y="39897"/>
                  </a:lnTo>
                  <a:lnTo>
                    <a:pt x="2905106" y="19088"/>
                  </a:lnTo>
                  <a:lnTo>
                    <a:pt x="2880945" y="5111"/>
                  </a:lnTo>
                  <a:lnTo>
                    <a:pt x="2846489" y="0"/>
                  </a:lnTo>
                  <a:close/>
                </a:path>
                <a:path w="2926080" h="342265">
                  <a:moveTo>
                    <a:pt x="533763" y="3957"/>
                  </a:moveTo>
                  <a:lnTo>
                    <a:pt x="0" y="3957"/>
                  </a:lnTo>
                  <a:lnTo>
                    <a:pt x="0" y="342188"/>
                  </a:lnTo>
                  <a:lnTo>
                    <a:pt x="533763" y="342188"/>
                  </a:lnTo>
                  <a:lnTo>
                    <a:pt x="533763" y="3957"/>
                  </a:lnTo>
                  <a:close/>
                </a:path>
              </a:pathLst>
            </a:custGeom>
            <a:solidFill>
              <a:srgbClr val="00814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2" name="object 116">
              <a:extLst>
                <a:ext uri="{FF2B5EF4-FFF2-40B4-BE49-F238E27FC236}">
                  <a16:creationId xmlns:a16="http://schemas.microsoft.com/office/drawing/2014/main" id="{B77FEC42-E4E2-D9E1-9E4D-C76E31B90548}"/>
                </a:ext>
              </a:extLst>
            </p:cNvPr>
            <p:cNvSpPr/>
            <p:nvPr/>
          </p:nvSpPr>
          <p:spPr>
            <a:xfrm>
              <a:off x="16766546" y="10371568"/>
              <a:ext cx="534035" cy="129539"/>
            </a:xfrm>
            <a:custGeom>
              <a:avLst/>
              <a:gdLst/>
              <a:ahLst/>
              <a:cxnLst/>
              <a:rect l="l" t="t" r="r" b="b"/>
              <a:pathLst>
                <a:path w="534034" h="129540">
                  <a:moveTo>
                    <a:pt x="533763" y="0"/>
                  </a:moveTo>
                  <a:lnTo>
                    <a:pt x="0" y="0"/>
                  </a:lnTo>
                  <a:lnTo>
                    <a:pt x="0" y="129325"/>
                  </a:lnTo>
                  <a:lnTo>
                    <a:pt x="533763" y="129325"/>
                  </a:lnTo>
                  <a:lnTo>
                    <a:pt x="533763" y="0"/>
                  </a:lnTo>
                  <a:close/>
                </a:path>
              </a:pathLst>
            </a:custGeom>
            <a:solidFill>
              <a:srgbClr val="FDC42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4" name="object 117">
              <a:extLst>
                <a:ext uri="{FF2B5EF4-FFF2-40B4-BE49-F238E27FC236}">
                  <a16:creationId xmlns:a16="http://schemas.microsoft.com/office/drawing/2014/main" id="{4BDCE9CF-5021-B944-9DFA-EE5530F9F07B}"/>
                </a:ext>
              </a:extLst>
            </p:cNvPr>
            <p:cNvSpPr/>
            <p:nvPr/>
          </p:nvSpPr>
          <p:spPr>
            <a:xfrm>
              <a:off x="16766445" y="10500818"/>
              <a:ext cx="534035" cy="264160"/>
            </a:xfrm>
            <a:custGeom>
              <a:avLst/>
              <a:gdLst/>
              <a:ahLst/>
              <a:cxnLst/>
              <a:rect l="l" t="t" r="r" b="b"/>
              <a:pathLst>
                <a:path w="534034" h="264159">
                  <a:moveTo>
                    <a:pt x="450292" y="187219"/>
                  </a:moveTo>
                  <a:lnTo>
                    <a:pt x="377108" y="187219"/>
                  </a:lnTo>
                  <a:lnTo>
                    <a:pt x="390664" y="189651"/>
                  </a:lnTo>
                  <a:lnTo>
                    <a:pt x="397101" y="195484"/>
                  </a:lnTo>
                  <a:lnTo>
                    <a:pt x="399147" y="202525"/>
                  </a:lnTo>
                  <a:lnTo>
                    <a:pt x="399539" y="208939"/>
                  </a:lnTo>
                  <a:lnTo>
                    <a:pt x="401411" y="263594"/>
                  </a:lnTo>
                  <a:lnTo>
                    <a:pt x="455085" y="263552"/>
                  </a:lnTo>
                  <a:lnTo>
                    <a:pt x="452436" y="197334"/>
                  </a:lnTo>
                  <a:lnTo>
                    <a:pt x="450292" y="187219"/>
                  </a:lnTo>
                  <a:close/>
                </a:path>
                <a:path w="534034" h="264159">
                  <a:moveTo>
                    <a:pt x="422489" y="64689"/>
                  </a:moveTo>
                  <a:lnTo>
                    <a:pt x="322262" y="64689"/>
                  </a:lnTo>
                  <a:lnTo>
                    <a:pt x="265175" y="262002"/>
                  </a:lnTo>
                  <a:lnTo>
                    <a:pt x="322953" y="262002"/>
                  </a:lnTo>
                  <a:lnTo>
                    <a:pt x="344073" y="187219"/>
                  </a:lnTo>
                  <a:lnTo>
                    <a:pt x="450292" y="187219"/>
                  </a:lnTo>
                  <a:lnTo>
                    <a:pt x="450248" y="187014"/>
                  </a:lnTo>
                  <a:lnTo>
                    <a:pt x="445457" y="179838"/>
                  </a:lnTo>
                  <a:lnTo>
                    <a:pt x="439119" y="175649"/>
                  </a:lnTo>
                  <a:lnTo>
                    <a:pt x="432290" y="174287"/>
                  </a:lnTo>
                  <a:lnTo>
                    <a:pt x="444656" y="169031"/>
                  </a:lnTo>
                  <a:lnTo>
                    <a:pt x="455538" y="161196"/>
                  </a:lnTo>
                  <a:lnTo>
                    <a:pt x="464319" y="152345"/>
                  </a:lnTo>
                  <a:lnTo>
                    <a:pt x="467089" y="148550"/>
                  </a:lnTo>
                  <a:lnTo>
                    <a:pt x="355025" y="148550"/>
                  </a:lnTo>
                  <a:lnTo>
                    <a:pt x="367203" y="104394"/>
                  </a:lnTo>
                  <a:lnTo>
                    <a:pt x="477533" y="104394"/>
                  </a:lnTo>
                  <a:lnTo>
                    <a:pt x="475650" y="95892"/>
                  </a:lnTo>
                  <a:lnTo>
                    <a:pt x="465661" y="79905"/>
                  </a:lnTo>
                  <a:lnTo>
                    <a:pt x="452026" y="70497"/>
                  </a:lnTo>
                  <a:lnTo>
                    <a:pt x="436914" y="65986"/>
                  </a:lnTo>
                  <a:lnTo>
                    <a:pt x="422489" y="64689"/>
                  </a:lnTo>
                  <a:close/>
                </a:path>
                <a:path w="534034" h="264159">
                  <a:moveTo>
                    <a:pt x="197554" y="64689"/>
                  </a:moveTo>
                  <a:lnTo>
                    <a:pt x="102740" y="64689"/>
                  </a:lnTo>
                  <a:lnTo>
                    <a:pt x="45862" y="261583"/>
                  </a:lnTo>
                  <a:lnTo>
                    <a:pt x="162372" y="261583"/>
                  </a:lnTo>
                  <a:lnTo>
                    <a:pt x="193085" y="259611"/>
                  </a:lnTo>
                  <a:lnTo>
                    <a:pt x="231804" y="241217"/>
                  </a:lnTo>
                  <a:lnTo>
                    <a:pt x="244382" y="221029"/>
                  </a:lnTo>
                  <a:lnTo>
                    <a:pt x="114917" y="221029"/>
                  </a:lnTo>
                  <a:lnTo>
                    <a:pt x="127210" y="178486"/>
                  </a:lnTo>
                  <a:lnTo>
                    <a:pt x="244256" y="178486"/>
                  </a:lnTo>
                  <a:lnTo>
                    <a:pt x="242212" y="174402"/>
                  </a:lnTo>
                  <a:lnTo>
                    <a:pt x="236392" y="167566"/>
                  </a:lnTo>
                  <a:lnTo>
                    <a:pt x="231130" y="163183"/>
                  </a:lnTo>
                  <a:lnTo>
                    <a:pt x="228275" y="161481"/>
                  </a:lnTo>
                  <a:lnTo>
                    <a:pt x="238829" y="154716"/>
                  </a:lnTo>
                  <a:lnTo>
                    <a:pt x="246786" y="146769"/>
                  </a:lnTo>
                  <a:lnTo>
                    <a:pt x="251334" y="140644"/>
                  </a:lnTo>
                  <a:lnTo>
                    <a:pt x="138027" y="140644"/>
                  </a:lnTo>
                  <a:lnTo>
                    <a:pt x="148246" y="104143"/>
                  </a:lnTo>
                  <a:lnTo>
                    <a:pt x="258753" y="104143"/>
                  </a:lnTo>
                  <a:lnTo>
                    <a:pt x="257796" y="97699"/>
                  </a:lnTo>
                  <a:lnTo>
                    <a:pt x="250212" y="83788"/>
                  </a:lnTo>
                  <a:lnTo>
                    <a:pt x="239272" y="74635"/>
                  </a:lnTo>
                  <a:lnTo>
                    <a:pt x="225736" y="68839"/>
                  </a:lnTo>
                  <a:lnTo>
                    <a:pt x="211274" y="65742"/>
                  </a:lnTo>
                  <a:lnTo>
                    <a:pt x="197554" y="64689"/>
                  </a:lnTo>
                  <a:close/>
                </a:path>
                <a:path w="534034" h="264159">
                  <a:moveTo>
                    <a:pt x="244256" y="178486"/>
                  </a:moveTo>
                  <a:lnTo>
                    <a:pt x="184538" y="178486"/>
                  </a:lnTo>
                  <a:lnTo>
                    <a:pt x="185606" y="183627"/>
                  </a:lnTo>
                  <a:lnTo>
                    <a:pt x="188214" y="187994"/>
                  </a:lnTo>
                  <a:lnTo>
                    <a:pt x="190790" y="192360"/>
                  </a:lnTo>
                  <a:lnTo>
                    <a:pt x="189596" y="201533"/>
                  </a:lnTo>
                  <a:lnTo>
                    <a:pt x="187826" y="204695"/>
                  </a:lnTo>
                  <a:lnTo>
                    <a:pt x="185548" y="208939"/>
                  </a:lnTo>
                  <a:lnTo>
                    <a:pt x="180935" y="214366"/>
                  </a:lnTo>
                  <a:lnTo>
                    <a:pt x="172228" y="219041"/>
                  </a:lnTo>
                  <a:lnTo>
                    <a:pt x="157670" y="221029"/>
                  </a:lnTo>
                  <a:lnTo>
                    <a:pt x="244382" y="221029"/>
                  </a:lnTo>
                  <a:lnTo>
                    <a:pt x="246728" y="215158"/>
                  </a:lnTo>
                  <a:lnTo>
                    <a:pt x="248941" y="198884"/>
                  </a:lnTo>
                  <a:lnTo>
                    <a:pt x="246746" y="183460"/>
                  </a:lnTo>
                  <a:lnTo>
                    <a:pt x="244256" y="178486"/>
                  </a:lnTo>
                  <a:close/>
                </a:path>
                <a:path w="534034" h="264159">
                  <a:moveTo>
                    <a:pt x="477533" y="104394"/>
                  </a:moveTo>
                  <a:lnTo>
                    <a:pt x="409202" y="104394"/>
                  </a:lnTo>
                  <a:lnTo>
                    <a:pt x="420873" y="106570"/>
                  </a:lnTo>
                  <a:lnTo>
                    <a:pt x="427070" y="111647"/>
                  </a:lnTo>
                  <a:lnTo>
                    <a:pt x="429522" y="117448"/>
                  </a:lnTo>
                  <a:lnTo>
                    <a:pt x="429955" y="121797"/>
                  </a:lnTo>
                  <a:lnTo>
                    <a:pt x="428341" y="129758"/>
                  </a:lnTo>
                  <a:lnTo>
                    <a:pt x="422972" y="138535"/>
                  </a:lnTo>
                  <a:lnTo>
                    <a:pt x="413058" y="145630"/>
                  </a:lnTo>
                  <a:lnTo>
                    <a:pt x="397809" y="148550"/>
                  </a:lnTo>
                  <a:lnTo>
                    <a:pt x="467089" y="148550"/>
                  </a:lnTo>
                  <a:lnTo>
                    <a:pt x="470383" y="144037"/>
                  </a:lnTo>
                  <a:lnTo>
                    <a:pt x="475068" y="134205"/>
                  </a:lnTo>
                  <a:lnTo>
                    <a:pt x="478149" y="122477"/>
                  </a:lnTo>
                  <a:lnTo>
                    <a:pt x="478663" y="109493"/>
                  </a:lnTo>
                  <a:lnTo>
                    <a:pt x="477533" y="104394"/>
                  </a:lnTo>
                  <a:close/>
                </a:path>
                <a:path w="534034" h="264159">
                  <a:moveTo>
                    <a:pt x="258753" y="104143"/>
                  </a:moveTo>
                  <a:lnTo>
                    <a:pt x="201595" y="104143"/>
                  </a:lnTo>
                  <a:lnTo>
                    <a:pt x="209637" y="109808"/>
                  </a:lnTo>
                  <a:lnTo>
                    <a:pt x="209637" y="119211"/>
                  </a:lnTo>
                  <a:lnTo>
                    <a:pt x="207849" y="127865"/>
                  </a:lnTo>
                  <a:lnTo>
                    <a:pt x="202869" y="134643"/>
                  </a:lnTo>
                  <a:lnTo>
                    <a:pt x="195276" y="139064"/>
                  </a:lnTo>
                  <a:lnTo>
                    <a:pt x="185648" y="140644"/>
                  </a:lnTo>
                  <a:lnTo>
                    <a:pt x="251334" y="140644"/>
                  </a:lnTo>
                  <a:lnTo>
                    <a:pt x="252001" y="139746"/>
                  </a:lnTo>
                  <a:lnTo>
                    <a:pt x="254327" y="135755"/>
                  </a:lnTo>
                  <a:lnTo>
                    <a:pt x="258193" y="125006"/>
                  </a:lnTo>
                  <a:lnTo>
                    <a:pt x="259903" y="111880"/>
                  </a:lnTo>
                  <a:lnTo>
                    <a:pt x="258753" y="104143"/>
                  </a:lnTo>
                  <a:close/>
                </a:path>
                <a:path w="534034" h="264159">
                  <a:moveTo>
                    <a:pt x="533868" y="0"/>
                  </a:moveTo>
                  <a:lnTo>
                    <a:pt x="0" y="0"/>
                  </a:lnTo>
                  <a:lnTo>
                    <a:pt x="0" y="64689"/>
                  </a:lnTo>
                  <a:lnTo>
                    <a:pt x="533868" y="64689"/>
                  </a:lnTo>
                  <a:lnTo>
                    <a:pt x="533868"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sp>
        <p:nvSpPr>
          <p:cNvPr id="2" name="Retângulo 1">
            <a:extLst>
              <a:ext uri="{FF2B5EF4-FFF2-40B4-BE49-F238E27FC236}">
                <a16:creationId xmlns:a16="http://schemas.microsoft.com/office/drawing/2014/main" id="{C012F4AA-F1C1-944E-3524-6502DF3BF762}"/>
              </a:ext>
            </a:extLst>
          </p:cNvPr>
          <p:cNvSpPr/>
          <p:nvPr/>
        </p:nvSpPr>
        <p:spPr>
          <a:xfrm>
            <a:off x="10076351" y="1081517"/>
            <a:ext cx="1835020" cy="1740341"/>
          </a:xfrm>
          <a:prstGeom prst="rect">
            <a:avLst/>
          </a:prstGeom>
          <a:ln>
            <a:noFill/>
          </a:ln>
          <a:effectLst>
            <a:outerShdw blurRad="292100" dist="139700" dir="2700000" algn="tl" rotWithShape="0">
              <a:srgbClr val="333333">
                <a:alpha val="6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r>
              <a:rPr lang="pt-BR" b="1" dirty="0">
                <a:solidFill>
                  <a:schemeClr val="bg1"/>
                </a:solidFill>
                <a:latin typeface="Trebuchet MS" panose="020B0703020202090204" pitchFamily="34" charset="0"/>
              </a:rPr>
              <a:t>IN PROGRESS AN IMPORTANT </a:t>
            </a:r>
          </a:p>
          <a:p>
            <a:pPr algn="ctr" defTabSz="914354">
              <a:defRPr/>
            </a:pPr>
            <a:r>
              <a:rPr lang="pt-BR" b="1" dirty="0">
                <a:solidFill>
                  <a:srgbClr val="FFC000"/>
                </a:solidFill>
                <a:latin typeface="Trebuchet MS" panose="020B0703020202090204" pitchFamily="34" charset="0"/>
              </a:rPr>
              <a:t>CHANGE OF AN ERA</a:t>
            </a:r>
          </a:p>
        </p:txBody>
      </p:sp>
      <p:sp>
        <p:nvSpPr>
          <p:cNvPr id="6" name="Retângulo 5">
            <a:extLst>
              <a:ext uri="{FF2B5EF4-FFF2-40B4-BE49-F238E27FC236}">
                <a16:creationId xmlns:a16="http://schemas.microsoft.com/office/drawing/2014/main" id="{79E120D6-0A38-F306-B69E-5F72A9792829}"/>
              </a:ext>
            </a:extLst>
          </p:cNvPr>
          <p:cNvSpPr/>
          <p:nvPr/>
        </p:nvSpPr>
        <p:spPr>
          <a:xfrm>
            <a:off x="0" y="1360560"/>
            <a:ext cx="6843252" cy="1138773"/>
          </a:xfrm>
          <a:prstGeom prst="rect">
            <a:avLst/>
          </a:prstGeom>
        </p:spPr>
        <p:txBody>
          <a:bodyPr wrap="square">
            <a:spAutoFit/>
          </a:bodyPr>
          <a:lstStyle/>
          <a:p>
            <a:pPr algn="ctr"/>
            <a:r>
              <a:rPr lang="en-US" sz="1400" b="1" i="1" dirty="0"/>
              <a:t>“We are living in the interregnum between what is no longer  and what is not yet”.</a:t>
            </a:r>
          </a:p>
          <a:p>
            <a:pPr algn="ctr"/>
            <a:r>
              <a:rPr lang="en-US" sz="1000" b="1" dirty="0"/>
              <a:t>Bauman and Mauro, 2016.</a:t>
            </a:r>
          </a:p>
          <a:p>
            <a:pPr algn="ctr"/>
            <a:endParaRPr lang="en-US" sz="1600" b="1" u="sng" dirty="0"/>
          </a:p>
          <a:p>
            <a:pPr algn="ctr"/>
            <a:r>
              <a:rPr lang="en-US" sz="1200" b="1" u="sng" dirty="0"/>
              <a:t>For many centuries, maritime transport has protected itself from the environment. </a:t>
            </a:r>
          </a:p>
          <a:p>
            <a:pPr algn="ctr"/>
            <a:r>
              <a:rPr lang="en-US" sz="1600" b="1" u="sng" dirty="0"/>
              <a:t>Today, it must also protect </a:t>
            </a:r>
            <a:r>
              <a:rPr lang="en-US" sz="1600" b="1" u="sng" dirty="0" err="1"/>
              <a:t>enviroment</a:t>
            </a:r>
            <a:r>
              <a:rPr lang="en-US" sz="1600" b="1" u="sng" dirty="0"/>
              <a:t> too, when go to the </a:t>
            </a:r>
            <a:r>
              <a:rPr lang="en-US" sz="1600" b="1" u="sng" dirty="0" err="1"/>
              <a:t>the</a:t>
            </a:r>
            <a:r>
              <a:rPr lang="en-US" sz="1600" b="1" u="sng" dirty="0"/>
              <a:t> sea.</a:t>
            </a:r>
          </a:p>
        </p:txBody>
      </p:sp>
      <p:pic>
        <p:nvPicPr>
          <p:cNvPr id="7" name="Imagem 6">
            <a:extLst>
              <a:ext uri="{FF2B5EF4-FFF2-40B4-BE49-F238E27FC236}">
                <a16:creationId xmlns:a16="http://schemas.microsoft.com/office/drawing/2014/main" id="{D30F2604-7FB7-9C4C-B0FC-2E9EAD8A5B07}"/>
              </a:ext>
            </a:extLst>
          </p:cNvPr>
          <p:cNvPicPr>
            <a:picLocks noChangeAspect="1"/>
          </p:cNvPicPr>
          <p:nvPr/>
        </p:nvPicPr>
        <p:blipFill>
          <a:blip r:embed="rId8"/>
          <a:stretch>
            <a:fillRect/>
          </a:stretch>
        </p:blipFill>
        <p:spPr>
          <a:xfrm>
            <a:off x="8413604" y="1085662"/>
            <a:ext cx="1520462" cy="173205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32" name="Imagem 31">
            <a:extLst>
              <a:ext uri="{FF2B5EF4-FFF2-40B4-BE49-F238E27FC236}">
                <a16:creationId xmlns:a16="http://schemas.microsoft.com/office/drawing/2014/main" id="{B65CCEAB-6B6E-2F1F-4EAB-54E8324639E9}"/>
              </a:ext>
            </a:extLst>
          </p:cNvPr>
          <p:cNvPicPr>
            <a:picLocks noChangeAspect="1"/>
          </p:cNvPicPr>
          <p:nvPr/>
        </p:nvPicPr>
        <p:blipFill>
          <a:blip r:embed="rId9"/>
          <a:stretch>
            <a:fillRect/>
          </a:stretch>
        </p:blipFill>
        <p:spPr>
          <a:xfrm>
            <a:off x="10552064" y="2906666"/>
            <a:ext cx="1531446" cy="91359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5" name="Elipse 34">
            <a:extLst>
              <a:ext uri="{FF2B5EF4-FFF2-40B4-BE49-F238E27FC236}">
                <a16:creationId xmlns:a16="http://schemas.microsoft.com/office/drawing/2014/main" id="{92C8304F-E410-3784-3F3B-2E7D2873E614}"/>
              </a:ext>
            </a:extLst>
          </p:cNvPr>
          <p:cNvSpPr/>
          <p:nvPr/>
        </p:nvSpPr>
        <p:spPr>
          <a:xfrm>
            <a:off x="11685200" y="6374990"/>
            <a:ext cx="398310" cy="398207"/>
          </a:xfrm>
          <a:prstGeom prst="ellipse">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800" b="1" dirty="0">
                <a:solidFill>
                  <a:srgbClr val="006199"/>
                </a:solidFill>
              </a:rPr>
              <a:t>P</a:t>
            </a:r>
          </a:p>
        </p:txBody>
      </p:sp>
      <p:pic>
        <p:nvPicPr>
          <p:cNvPr id="4" name="Imagem 3">
            <a:extLst>
              <a:ext uri="{FF2B5EF4-FFF2-40B4-BE49-F238E27FC236}">
                <a16:creationId xmlns:a16="http://schemas.microsoft.com/office/drawing/2014/main" id="{E72B8E67-7654-A0DC-13D2-F3F1DC66A244}"/>
              </a:ext>
            </a:extLst>
          </p:cNvPr>
          <p:cNvPicPr>
            <a:picLocks noChangeAspect="1"/>
          </p:cNvPicPr>
          <p:nvPr/>
        </p:nvPicPr>
        <p:blipFill>
          <a:blip r:embed="rId10"/>
          <a:srcRect l="25261" r="25508"/>
          <a:stretch/>
        </p:blipFill>
        <p:spPr>
          <a:xfrm>
            <a:off x="839799" y="2970171"/>
            <a:ext cx="6625644" cy="219635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902423727"/>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0B3A00-3E39-F5DD-1DA8-2AD7421ED40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BD42B5CD-BEB7-4A78-43E3-E2BAD33D9A5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4" imgW="592" imgH="591" progId="TCLayout.ActiveDocument.1">
                  <p:embed/>
                </p:oleObj>
              </mc:Choice>
              <mc:Fallback>
                <p:oleObj name="Slide do think-cell" r:id="rId4" imgW="592" imgH="591" progId="TCLayout.ActiveDocument.1">
                  <p:embed/>
                  <p:pic>
                    <p:nvPicPr>
                      <p:cNvPr id="18" name="think-cell data - do not delete" hidden="1">
                        <a:extLst>
                          <a:ext uri="{FF2B5EF4-FFF2-40B4-BE49-F238E27FC236}">
                            <a16:creationId xmlns:a16="http://schemas.microsoft.com/office/drawing/2014/main" id="{BD42B5CD-BEB7-4A78-43E3-E2BAD33D9A5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4" name="Gráfico 23">
            <a:extLst>
              <a:ext uri="{FF2B5EF4-FFF2-40B4-BE49-F238E27FC236}">
                <a16:creationId xmlns:a16="http://schemas.microsoft.com/office/drawing/2014/main" id="{957CB1F0-0158-090B-1D47-992838CC82E6}"/>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0" y="0"/>
            <a:ext cx="12192000" cy="6858000"/>
          </a:xfrm>
          <a:prstGeom prst="rect">
            <a:avLst/>
          </a:prstGeom>
        </p:spPr>
      </p:pic>
      <p:grpSp>
        <p:nvGrpSpPr>
          <p:cNvPr id="31" name="Agrupar 30">
            <a:extLst>
              <a:ext uri="{FF2B5EF4-FFF2-40B4-BE49-F238E27FC236}">
                <a16:creationId xmlns:a16="http://schemas.microsoft.com/office/drawing/2014/main" id="{720E3EA7-501B-FD44-FA4F-3201B260FAAD}"/>
              </a:ext>
            </a:extLst>
          </p:cNvPr>
          <p:cNvGrpSpPr/>
          <p:nvPr/>
        </p:nvGrpSpPr>
        <p:grpSpPr>
          <a:xfrm>
            <a:off x="0" y="0"/>
            <a:ext cx="12192000" cy="6556877"/>
            <a:chOff x="0" y="0"/>
            <a:chExt cx="12192000" cy="6556877"/>
          </a:xfrm>
        </p:grpSpPr>
        <p:pic>
          <p:nvPicPr>
            <p:cNvPr id="26" name="Gráfico 25">
              <a:extLst>
                <a:ext uri="{FF2B5EF4-FFF2-40B4-BE49-F238E27FC236}">
                  <a16:creationId xmlns:a16="http://schemas.microsoft.com/office/drawing/2014/main" id="{BB6B6ABA-7425-0D95-AE60-563B3A9298F1}"/>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0" y="4839694"/>
              <a:ext cx="12192000" cy="1717183"/>
            </a:xfrm>
            <a:prstGeom prst="rect">
              <a:avLst/>
            </a:prstGeom>
          </p:spPr>
        </p:pic>
        <p:sp>
          <p:nvSpPr>
            <p:cNvPr id="30" name="Retângulo 29">
              <a:extLst>
                <a:ext uri="{FF2B5EF4-FFF2-40B4-BE49-F238E27FC236}">
                  <a16:creationId xmlns:a16="http://schemas.microsoft.com/office/drawing/2014/main" id="{A1BAF200-7790-737E-F0D0-40721F0CA591}"/>
                </a:ext>
              </a:extLst>
            </p:cNvPr>
            <p:cNvSpPr/>
            <p:nvPr/>
          </p:nvSpPr>
          <p:spPr>
            <a:xfrm>
              <a:off x="0" y="0"/>
              <a:ext cx="12192000" cy="519611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sp>
        <p:nvSpPr>
          <p:cNvPr id="15" name="Retângulo 14">
            <a:extLst>
              <a:ext uri="{FF2B5EF4-FFF2-40B4-BE49-F238E27FC236}">
                <a16:creationId xmlns:a16="http://schemas.microsoft.com/office/drawing/2014/main" id="{9DF938E7-DBE9-41EF-33B1-9AF482EC94F5}"/>
              </a:ext>
            </a:extLst>
          </p:cNvPr>
          <p:cNvSpPr>
            <a:spLocks noGrp="1" noRot="1" noMove="1" noResize="1" noEditPoints="1" noAdjustHandles="1" noChangeArrowheads="1" noChangeShapeType="1"/>
          </p:cNvSpPr>
          <p:nvPr/>
        </p:nvSpPr>
        <p:spPr>
          <a:xfrm>
            <a:off x="9418836" y="0"/>
            <a:ext cx="2773163" cy="99670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nvGrpSpPr>
          <p:cNvPr id="8" name="Agrupar 7">
            <a:extLst>
              <a:ext uri="{FF2B5EF4-FFF2-40B4-BE49-F238E27FC236}">
                <a16:creationId xmlns:a16="http://schemas.microsoft.com/office/drawing/2014/main" id="{CCC2A1F9-7551-BD5A-1C45-BF9826DF6639}"/>
              </a:ext>
            </a:extLst>
          </p:cNvPr>
          <p:cNvGrpSpPr/>
          <p:nvPr/>
        </p:nvGrpSpPr>
        <p:grpSpPr>
          <a:xfrm>
            <a:off x="9920871" y="396837"/>
            <a:ext cx="1774444" cy="322756"/>
            <a:chOff x="16766445" y="10371568"/>
            <a:chExt cx="2926190" cy="532249"/>
          </a:xfrm>
        </p:grpSpPr>
        <p:sp>
          <p:nvSpPr>
            <p:cNvPr id="11" name="object 115">
              <a:extLst>
                <a:ext uri="{FF2B5EF4-FFF2-40B4-BE49-F238E27FC236}">
                  <a16:creationId xmlns:a16="http://schemas.microsoft.com/office/drawing/2014/main" id="{A9DFD572-2DCE-065D-EE9F-FC97506A0218}"/>
                </a:ext>
              </a:extLst>
            </p:cNvPr>
            <p:cNvSpPr/>
            <p:nvPr/>
          </p:nvSpPr>
          <p:spPr>
            <a:xfrm>
              <a:off x="16766555" y="10561552"/>
              <a:ext cx="2926080" cy="342265"/>
            </a:xfrm>
            <a:custGeom>
              <a:avLst/>
              <a:gdLst/>
              <a:ahLst/>
              <a:cxnLst/>
              <a:rect l="l" t="t" r="r" b="b"/>
              <a:pathLst>
                <a:path w="2926080" h="342265">
                  <a:moveTo>
                    <a:pt x="846424" y="57034"/>
                  </a:moveTo>
                  <a:lnTo>
                    <a:pt x="781588" y="57034"/>
                  </a:lnTo>
                  <a:lnTo>
                    <a:pt x="740490" y="202192"/>
                  </a:lnTo>
                  <a:lnTo>
                    <a:pt x="804970" y="202192"/>
                  </a:lnTo>
                  <a:lnTo>
                    <a:pt x="846424" y="57034"/>
                  </a:lnTo>
                  <a:close/>
                </a:path>
                <a:path w="2926080" h="342265">
                  <a:moveTo>
                    <a:pt x="911637" y="176350"/>
                  </a:moveTo>
                  <a:lnTo>
                    <a:pt x="904537" y="202192"/>
                  </a:lnTo>
                  <a:lnTo>
                    <a:pt x="911637" y="202192"/>
                  </a:lnTo>
                  <a:lnTo>
                    <a:pt x="911637" y="176350"/>
                  </a:lnTo>
                  <a:close/>
                </a:path>
                <a:path w="2926080" h="342265">
                  <a:moveTo>
                    <a:pt x="1032073" y="5266"/>
                  </a:moveTo>
                  <a:lnTo>
                    <a:pt x="960494" y="5266"/>
                  </a:lnTo>
                  <a:lnTo>
                    <a:pt x="911637" y="176350"/>
                  </a:lnTo>
                  <a:lnTo>
                    <a:pt x="911637" y="202192"/>
                  </a:lnTo>
                  <a:lnTo>
                    <a:pt x="969017" y="202192"/>
                  </a:lnTo>
                  <a:lnTo>
                    <a:pt x="988462" y="133535"/>
                  </a:lnTo>
                  <a:lnTo>
                    <a:pt x="1032073" y="133535"/>
                  </a:lnTo>
                  <a:lnTo>
                    <a:pt x="1032073" y="90300"/>
                  </a:lnTo>
                  <a:lnTo>
                    <a:pt x="1000880" y="90300"/>
                  </a:lnTo>
                  <a:lnTo>
                    <a:pt x="1011854" y="50961"/>
                  </a:lnTo>
                  <a:lnTo>
                    <a:pt x="1032073" y="50961"/>
                  </a:lnTo>
                  <a:lnTo>
                    <a:pt x="1032073" y="5266"/>
                  </a:lnTo>
                  <a:close/>
                </a:path>
                <a:path w="2926080" h="342265">
                  <a:moveTo>
                    <a:pt x="1032073" y="171439"/>
                  </a:moveTo>
                  <a:lnTo>
                    <a:pt x="1029341" y="182273"/>
                  </a:lnTo>
                  <a:lnTo>
                    <a:pt x="1027494" y="191214"/>
                  </a:lnTo>
                  <a:lnTo>
                    <a:pt x="1026516" y="197956"/>
                  </a:lnTo>
                  <a:lnTo>
                    <a:pt x="1026387" y="202192"/>
                  </a:lnTo>
                  <a:lnTo>
                    <a:pt x="1032073" y="202192"/>
                  </a:lnTo>
                  <a:lnTo>
                    <a:pt x="1032073" y="171439"/>
                  </a:lnTo>
                  <a:close/>
                </a:path>
                <a:path w="2926080" h="342265">
                  <a:moveTo>
                    <a:pt x="1053643" y="5266"/>
                  </a:moveTo>
                  <a:lnTo>
                    <a:pt x="1032073" y="5266"/>
                  </a:lnTo>
                  <a:lnTo>
                    <a:pt x="1032073" y="50961"/>
                  </a:lnTo>
                  <a:lnTo>
                    <a:pt x="1041957" y="50961"/>
                  </a:lnTo>
                  <a:lnTo>
                    <a:pt x="1052136" y="52233"/>
                  </a:lnTo>
                  <a:lnTo>
                    <a:pt x="1059357" y="56065"/>
                  </a:lnTo>
                  <a:lnTo>
                    <a:pt x="1062931" y="62477"/>
                  </a:lnTo>
                  <a:lnTo>
                    <a:pt x="1062166" y="71495"/>
                  </a:lnTo>
                  <a:lnTo>
                    <a:pt x="1058448" y="79523"/>
                  </a:lnTo>
                  <a:lnTo>
                    <a:pt x="1052153" y="85158"/>
                  </a:lnTo>
                  <a:lnTo>
                    <a:pt x="1043342" y="88662"/>
                  </a:lnTo>
                  <a:lnTo>
                    <a:pt x="1032073" y="90300"/>
                  </a:lnTo>
                  <a:lnTo>
                    <a:pt x="1032073" y="138110"/>
                  </a:lnTo>
                  <a:lnTo>
                    <a:pt x="1035517" y="142655"/>
                  </a:lnTo>
                  <a:lnTo>
                    <a:pt x="1036578" y="148995"/>
                  </a:lnTo>
                  <a:lnTo>
                    <a:pt x="1035648" y="157338"/>
                  </a:lnTo>
                  <a:lnTo>
                    <a:pt x="1033120" y="167890"/>
                  </a:lnTo>
                  <a:lnTo>
                    <a:pt x="1032073" y="171439"/>
                  </a:lnTo>
                  <a:lnTo>
                    <a:pt x="1032073" y="202192"/>
                  </a:lnTo>
                  <a:lnTo>
                    <a:pt x="1091893" y="202192"/>
                  </a:lnTo>
                  <a:lnTo>
                    <a:pt x="1093673" y="196213"/>
                  </a:lnTo>
                  <a:lnTo>
                    <a:pt x="1089851" y="194484"/>
                  </a:lnTo>
                  <a:lnTo>
                    <a:pt x="1089574" y="188742"/>
                  </a:lnTo>
                  <a:lnTo>
                    <a:pt x="1092139" y="178155"/>
                  </a:lnTo>
                  <a:lnTo>
                    <a:pt x="1096846" y="161890"/>
                  </a:lnTo>
                  <a:lnTo>
                    <a:pt x="1101208" y="138020"/>
                  </a:lnTo>
                  <a:lnTo>
                    <a:pt x="1098638" y="123678"/>
                  </a:lnTo>
                  <a:lnTo>
                    <a:pt x="1090477" y="115329"/>
                  </a:lnTo>
                  <a:lnTo>
                    <a:pt x="1078071" y="109441"/>
                  </a:lnTo>
                  <a:lnTo>
                    <a:pt x="1094089" y="102911"/>
                  </a:lnTo>
                  <a:lnTo>
                    <a:pt x="1107053" y="92859"/>
                  </a:lnTo>
                  <a:lnTo>
                    <a:pt x="1116961" y="80026"/>
                  </a:lnTo>
                  <a:lnTo>
                    <a:pt x="1123808" y="65149"/>
                  </a:lnTo>
                  <a:lnTo>
                    <a:pt x="1123808" y="25465"/>
                  </a:lnTo>
                  <a:lnTo>
                    <a:pt x="1114887" y="16491"/>
                  </a:lnTo>
                  <a:lnTo>
                    <a:pt x="1100548" y="10194"/>
                  </a:lnTo>
                  <a:lnTo>
                    <a:pt x="1080298" y="6483"/>
                  </a:lnTo>
                  <a:lnTo>
                    <a:pt x="1053643" y="5266"/>
                  </a:lnTo>
                  <a:close/>
                </a:path>
                <a:path w="2926080" h="342265">
                  <a:moveTo>
                    <a:pt x="1123808" y="196213"/>
                  </a:moveTo>
                  <a:lnTo>
                    <a:pt x="1119882" y="202192"/>
                  </a:lnTo>
                  <a:lnTo>
                    <a:pt x="1123808" y="202192"/>
                  </a:lnTo>
                  <a:lnTo>
                    <a:pt x="1123808" y="196213"/>
                  </a:lnTo>
                  <a:close/>
                </a:path>
                <a:path w="2926080" h="342265">
                  <a:moveTo>
                    <a:pt x="1242443" y="11675"/>
                  </a:moveTo>
                  <a:lnTo>
                    <a:pt x="1123808" y="196213"/>
                  </a:lnTo>
                  <a:lnTo>
                    <a:pt x="1123808" y="202192"/>
                  </a:lnTo>
                  <a:lnTo>
                    <a:pt x="1183314" y="202192"/>
                  </a:lnTo>
                  <a:lnTo>
                    <a:pt x="1198172" y="176350"/>
                  </a:lnTo>
                  <a:lnTo>
                    <a:pt x="1242443" y="176350"/>
                  </a:lnTo>
                  <a:lnTo>
                    <a:pt x="1242443" y="135294"/>
                  </a:lnTo>
                  <a:lnTo>
                    <a:pt x="1221910" y="135294"/>
                  </a:lnTo>
                  <a:lnTo>
                    <a:pt x="1242443" y="99159"/>
                  </a:lnTo>
                  <a:lnTo>
                    <a:pt x="1242443" y="11675"/>
                  </a:lnTo>
                  <a:close/>
                </a:path>
                <a:path w="2926080" h="342265">
                  <a:moveTo>
                    <a:pt x="1316746" y="64458"/>
                  </a:moveTo>
                  <a:lnTo>
                    <a:pt x="1261940" y="64458"/>
                  </a:lnTo>
                  <a:lnTo>
                    <a:pt x="1262631" y="135294"/>
                  </a:lnTo>
                  <a:lnTo>
                    <a:pt x="1242443" y="135294"/>
                  </a:lnTo>
                  <a:lnTo>
                    <a:pt x="1242443" y="176350"/>
                  </a:lnTo>
                  <a:lnTo>
                    <a:pt x="1262296" y="176350"/>
                  </a:lnTo>
                  <a:lnTo>
                    <a:pt x="1262631" y="202192"/>
                  </a:lnTo>
                  <a:lnTo>
                    <a:pt x="1327153" y="202192"/>
                  </a:lnTo>
                  <a:lnTo>
                    <a:pt x="1316746" y="64458"/>
                  </a:lnTo>
                  <a:close/>
                </a:path>
                <a:path w="2926080" h="342265">
                  <a:moveTo>
                    <a:pt x="1032073" y="133535"/>
                  </a:moveTo>
                  <a:lnTo>
                    <a:pt x="1020356" y="133535"/>
                  </a:lnTo>
                  <a:lnTo>
                    <a:pt x="1027832" y="134938"/>
                  </a:lnTo>
                  <a:lnTo>
                    <a:pt x="1032073" y="138110"/>
                  </a:lnTo>
                  <a:lnTo>
                    <a:pt x="1032073" y="133535"/>
                  </a:lnTo>
                  <a:close/>
                </a:path>
                <a:path w="2926080" h="342265">
                  <a:moveTo>
                    <a:pt x="1312274" y="5266"/>
                  </a:moveTo>
                  <a:lnTo>
                    <a:pt x="1246695" y="5266"/>
                  </a:lnTo>
                  <a:lnTo>
                    <a:pt x="1242443" y="11675"/>
                  </a:lnTo>
                  <a:lnTo>
                    <a:pt x="1242443" y="99159"/>
                  </a:lnTo>
                  <a:lnTo>
                    <a:pt x="1261940" y="64458"/>
                  </a:lnTo>
                  <a:lnTo>
                    <a:pt x="1316746" y="64458"/>
                  </a:lnTo>
                  <a:lnTo>
                    <a:pt x="1312274" y="5266"/>
                  </a:lnTo>
                  <a:close/>
                </a:path>
                <a:path w="2926080" h="342265">
                  <a:moveTo>
                    <a:pt x="1123808" y="25465"/>
                  </a:moveTo>
                  <a:lnTo>
                    <a:pt x="1123808" y="65149"/>
                  </a:lnTo>
                  <a:lnTo>
                    <a:pt x="1124824" y="61254"/>
                  </a:lnTo>
                  <a:lnTo>
                    <a:pt x="1127276" y="50638"/>
                  </a:lnTo>
                  <a:lnTo>
                    <a:pt x="1128058" y="41113"/>
                  </a:lnTo>
                  <a:lnTo>
                    <a:pt x="1126969" y="32712"/>
                  </a:lnTo>
                  <a:lnTo>
                    <a:pt x="1123808" y="25465"/>
                  </a:lnTo>
                  <a:close/>
                </a:path>
                <a:path w="2926080" h="342265">
                  <a:moveTo>
                    <a:pt x="911637" y="5266"/>
                  </a:moveTo>
                  <a:lnTo>
                    <a:pt x="738354" y="5266"/>
                  </a:lnTo>
                  <a:lnTo>
                    <a:pt x="723517" y="57034"/>
                  </a:lnTo>
                  <a:lnTo>
                    <a:pt x="904537" y="57034"/>
                  </a:lnTo>
                  <a:lnTo>
                    <a:pt x="911637" y="31150"/>
                  </a:lnTo>
                  <a:lnTo>
                    <a:pt x="911637" y="5266"/>
                  </a:lnTo>
                  <a:close/>
                </a:path>
                <a:path w="2926080" h="342265">
                  <a:moveTo>
                    <a:pt x="919040" y="5266"/>
                  </a:moveTo>
                  <a:lnTo>
                    <a:pt x="911637" y="5266"/>
                  </a:lnTo>
                  <a:lnTo>
                    <a:pt x="911637" y="31150"/>
                  </a:lnTo>
                  <a:lnTo>
                    <a:pt x="919040" y="5266"/>
                  </a:lnTo>
                  <a:close/>
                </a:path>
                <a:path w="2926080" h="342265">
                  <a:moveTo>
                    <a:pt x="1678168" y="141660"/>
                  </a:moveTo>
                  <a:lnTo>
                    <a:pt x="1616526" y="141660"/>
                  </a:lnTo>
                  <a:lnTo>
                    <a:pt x="1616162" y="166898"/>
                  </a:lnTo>
                  <a:lnTo>
                    <a:pt x="1627883" y="187885"/>
                  </a:lnTo>
                  <a:lnTo>
                    <a:pt x="1651025" y="202230"/>
                  </a:lnTo>
                  <a:lnTo>
                    <a:pt x="1684922" y="207543"/>
                  </a:lnTo>
                  <a:lnTo>
                    <a:pt x="1723576" y="203340"/>
                  </a:lnTo>
                  <a:lnTo>
                    <a:pt x="1756382" y="190666"/>
                  </a:lnTo>
                  <a:lnTo>
                    <a:pt x="1781352" y="169430"/>
                  </a:lnTo>
                  <a:lnTo>
                    <a:pt x="1785014" y="162204"/>
                  </a:lnTo>
                  <a:lnTo>
                    <a:pt x="1695204" y="162204"/>
                  </a:lnTo>
                  <a:lnTo>
                    <a:pt x="1688786" y="160445"/>
                  </a:lnTo>
                  <a:lnTo>
                    <a:pt x="1684535" y="157230"/>
                  </a:lnTo>
                  <a:lnTo>
                    <a:pt x="1679959" y="153723"/>
                  </a:lnTo>
                  <a:lnTo>
                    <a:pt x="1677833" y="148749"/>
                  </a:lnTo>
                  <a:lnTo>
                    <a:pt x="1678168" y="141660"/>
                  </a:lnTo>
                  <a:close/>
                </a:path>
                <a:path w="2926080" h="342265">
                  <a:moveTo>
                    <a:pt x="1746575" y="0"/>
                  </a:moveTo>
                  <a:lnTo>
                    <a:pt x="1711326" y="3919"/>
                  </a:lnTo>
                  <a:lnTo>
                    <a:pt x="1680889" y="15702"/>
                  </a:lnTo>
                  <a:lnTo>
                    <a:pt x="1657433" y="35387"/>
                  </a:lnTo>
                  <a:lnTo>
                    <a:pt x="1643122" y="63013"/>
                  </a:lnTo>
                  <a:lnTo>
                    <a:pt x="1645061" y="97763"/>
                  </a:lnTo>
                  <a:lnTo>
                    <a:pt x="1667805" y="116579"/>
                  </a:lnTo>
                  <a:lnTo>
                    <a:pt x="1698502" y="126487"/>
                  </a:lnTo>
                  <a:lnTo>
                    <a:pt x="1724299" y="134513"/>
                  </a:lnTo>
                  <a:lnTo>
                    <a:pt x="1732345" y="147681"/>
                  </a:lnTo>
                  <a:lnTo>
                    <a:pt x="1728800" y="153837"/>
                  </a:lnTo>
                  <a:lnTo>
                    <a:pt x="1722156" y="158398"/>
                  </a:lnTo>
                  <a:lnTo>
                    <a:pt x="1712914" y="161231"/>
                  </a:lnTo>
                  <a:lnTo>
                    <a:pt x="1701571" y="162204"/>
                  </a:lnTo>
                  <a:lnTo>
                    <a:pt x="1785014" y="162204"/>
                  </a:lnTo>
                  <a:lnTo>
                    <a:pt x="1796500" y="139535"/>
                  </a:lnTo>
                  <a:lnTo>
                    <a:pt x="1789973" y="100529"/>
                  </a:lnTo>
                  <a:lnTo>
                    <a:pt x="1756214" y="82271"/>
                  </a:lnTo>
                  <a:lnTo>
                    <a:pt x="1720204" y="71914"/>
                  </a:lnTo>
                  <a:lnTo>
                    <a:pt x="1706921" y="56616"/>
                  </a:lnTo>
                  <a:lnTo>
                    <a:pt x="1709501" y="51864"/>
                  </a:lnTo>
                  <a:lnTo>
                    <a:pt x="1714227" y="48312"/>
                  </a:lnTo>
                  <a:lnTo>
                    <a:pt x="1721219" y="46087"/>
                  </a:lnTo>
                  <a:lnTo>
                    <a:pt x="1730596" y="45317"/>
                  </a:lnTo>
                  <a:lnTo>
                    <a:pt x="1812738" y="45317"/>
                  </a:lnTo>
                  <a:lnTo>
                    <a:pt x="1812563" y="38086"/>
                  </a:lnTo>
                  <a:lnTo>
                    <a:pt x="1802310" y="18274"/>
                  </a:lnTo>
                  <a:lnTo>
                    <a:pt x="1780832" y="4905"/>
                  </a:lnTo>
                  <a:lnTo>
                    <a:pt x="1746575" y="0"/>
                  </a:lnTo>
                  <a:close/>
                </a:path>
                <a:path w="2926080" h="342265">
                  <a:moveTo>
                    <a:pt x="1812738" y="45317"/>
                  </a:moveTo>
                  <a:lnTo>
                    <a:pt x="1737004" y="45317"/>
                  </a:lnTo>
                  <a:lnTo>
                    <a:pt x="1742292" y="46386"/>
                  </a:lnTo>
                  <a:lnTo>
                    <a:pt x="1750135" y="51338"/>
                  </a:lnTo>
                  <a:lnTo>
                    <a:pt x="1752574" y="55621"/>
                  </a:lnTo>
                  <a:lnTo>
                    <a:pt x="1751883" y="62322"/>
                  </a:lnTo>
                  <a:lnTo>
                    <a:pt x="1813148" y="62322"/>
                  </a:lnTo>
                  <a:lnTo>
                    <a:pt x="1812738" y="45317"/>
                  </a:lnTo>
                  <a:close/>
                </a:path>
                <a:path w="2926080" h="342265">
                  <a:moveTo>
                    <a:pt x="1481232" y="5266"/>
                  </a:moveTo>
                  <a:lnTo>
                    <a:pt x="1421035" y="5266"/>
                  </a:lnTo>
                  <a:lnTo>
                    <a:pt x="1365036" y="202192"/>
                  </a:lnTo>
                  <a:lnTo>
                    <a:pt x="1427014" y="202192"/>
                  </a:lnTo>
                  <a:lnTo>
                    <a:pt x="1444395" y="139911"/>
                  </a:lnTo>
                  <a:lnTo>
                    <a:pt x="1454678" y="94876"/>
                  </a:lnTo>
                  <a:lnTo>
                    <a:pt x="1514618" y="94876"/>
                  </a:lnTo>
                  <a:lnTo>
                    <a:pt x="1481232" y="5266"/>
                  </a:lnTo>
                  <a:close/>
                </a:path>
                <a:path w="2926080" h="342265">
                  <a:moveTo>
                    <a:pt x="1514618" y="94876"/>
                  </a:moveTo>
                  <a:lnTo>
                    <a:pt x="1454678" y="94876"/>
                  </a:lnTo>
                  <a:lnTo>
                    <a:pt x="1494666" y="202192"/>
                  </a:lnTo>
                  <a:lnTo>
                    <a:pt x="1555282" y="202192"/>
                  </a:lnTo>
                  <a:lnTo>
                    <a:pt x="1580728" y="112624"/>
                  </a:lnTo>
                  <a:lnTo>
                    <a:pt x="1521231" y="112624"/>
                  </a:lnTo>
                  <a:lnTo>
                    <a:pt x="1514618" y="94876"/>
                  </a:lnTo>
                  <a:close/>
                </a:path>
                <a:path w="2926080" h="342265">
                  <a:moveTo>
                    <a:pt x="1611228" y="5266"/>
                  </a:moveTo>
                  <a:lnTo>
                    <a:pt x="1549251" y="5266"/>
                  </a:lnTo>
                  <a:lnTo>
                    <a:pt x="1531555" y="67987"/>
                  </a:lnTo>
                  <a:lnTo>
                    <a:pt x="1521231" y="112624"/>
                  </a:lnTo>
                  <a:lnTo>
                    <a:pt x="1580728" y="112624"/>
                  </a:lnTo>
                  <a:lnTo>
                    <a:pt x="1611228" y="5266"/>
                  </a:lnTo>
                  <a:close/>
                </a:path>
                <a:path w="2926080" h="342265">
                  <a:moveTo>
                    <a:pt x="1944935" y="5266"/>
                  </a:moveTo>
                  <a:lnTo>
                    <a:pt x="1875503" y="5266"/>
                  </a:lnTo>
                  <a:lnTo>
                    <a:pt x="1819546" y="202192"/>
                  </a:lnTo>
                  <a:lnTo>
                    <a:pt x="1884340" y="202192"/>
                  </a:lnTo>
                  <a:lnTo>
                    <a:pt x="1901722" y="140980"/>
                  </a:lnTo>
                  <a:lnTo>
                    <a:pt x="1941385" y="140980"/>
                  </a:lnTo>
                  <a:lnTo>
                    <a:pt x="1944935" y="140634"/>
                  </a:lnTo>
                  <a:lnTo>
                    <a:pt x="1944935" y="94876"/>
                  </a:lnTo>
                  <a:lnTo>
                    <a:pt x="1914800" y="94876"/>
                  </a:lnTo>
                  <a:lnTo>
                    <a:pt x="1927218" y="50961"/>
                  </a:lnTo>
                  <a:lnTo>
                    <a:pt x="1944935" y="50961"/>
                  </a:lnTo>
                  <a:lnTo>
                    <a:pt x="1944935" y="5266"/>
                  </a:lnTo>
                  <a:close/>
                </a:path>
                <a:path w="2926080" h="342265">
                  <a:moveTo>
                    <a:pt x="1970756" y="5266"/>
                  </a:moveTo>
                  <a:lnTo>
                    <a:pt x="1944935" y="5266"/>
                  </a:lnTo>
                  <a:lnTo>
                    <a:pt x="1944935" y="50961"/>
                  </a:lnTo>
                  <a:lnTo>
                    <a:pt x="1945626" y="50961"/>
                  </a:lnTo>
                  <a:lnTo>
                    <a:pt x="1956634" y="51643"/>
                  </a:lnTo>
                  <a:lnTo>
                    <a:pt x="1967014" y="54521"/>
                  </a:lnTo>
                  <a:lnTo>
                    <a:pt x="1973878" y="60847"/>
                  </a:lnTo>
                  <a:lnTo>
                    <a:pt x="1974337" y="71872"/>
                  </a:lnTo>
                  <a:lnTo>
                    <a:pt x="1969699" y="82094"/>
                  </a:lnTo>
                  <a:lnTo>
                    <a:pt x="1962966" y="89087"/>
                  </a:lnTo>
                  <a:lnTo>
                    <a:pt x="1954568" y="93224"/>
                  </a:lnTo>
                  <a:lnTo>
                    <a:pt x="1944935" y="94876"/>
                  </a:lnTo>
                  <a:lnTo>
                    <a:pt x="1944935" y="140634"/>
                  </a:lnTo>
                  <a:lnTo>
                    <a:pt x="2005067" y="119882"/>
                  </a:lnTo>
                  <a:lnTo>
                    <a:pt x="2035969" y="71495"/>
                  </a:lnTo>
                  <a:lnTo>
                    <a:pt x="2038543" y="44126"/>
                  </a:lnTo>
                  <a:lnTo>
                    <a:pt x="2028885" y="23251"/>
                  </a:lnTo>
                  <a:lnTo>
                    <a:pt x="2006467" y="9941"/>
                  </a:lnTo>
                  <a:lnTo>
                    <a:pt x="1970756" y="5266"/>
                  </a:lnTo>
                  <a:close/>
                </a:path>
                <a:path w="2926080" h="342265">
                  <a:moveTo>
                    <a:pt x="2255606" y="5266"/>
                  </a:moveTo>
                  <a:lnTo>
                    <a:pt x="2094773" y="5266"/>
                  </a:lnTo>
                  <a:lnTo>
                    <a:pt x="2038817" y="202192"/>
                  </a:lnTo>
                  <a:lnTo>
                    <a:pt x="2203524" y="202192"/>
                  </a:lnTo>
                  <a:lnTo>
                    <a:pt x="2216655" y="156204"/>
                  </a:lnTo>
                  <a:lnTo>
                    <a:pt x="2116375" y="156204"/>
                  </a:lnTo>
                  <a:lnTo>
                    <a:pt x="2125233" y="125388"/>
                  </a:lnTo>
                  <a:lnTo>
                    <a:pt x="2206707" y="125388"/>
                  </a:lnTo>
                  <a:lnTo>
                    <a:pt x="2219827" y="79337"/>
                  </a:lnTo>
                  <a:lnTo>
                    <a:pt x="2138353" y="79337"/>
                  </a:lnTo>
                  <a:lnTo>
                    <a:pt x="2146489" y="50961"/>
                  </a:lnTo>
                  <a:lnTo>
                    <a:pt x="2242518" y="50961"/>
                  </a:lnTo>
                  <a:lnTo>
                    <a:pt x="2255606" y="5266"/>
                  </a:lnTo>
                  <a:close/>
                </a:path>
                <a:path w="2926080" h="342265">
                  <a:moveTo>
                    <a:pt x="2404408" y="57034"/>
                  </a:moveTo>
                  <a:lnTo>
                    <a:pt x="2339530" y="57034"/>
                  </a:lnTo>
                  <a:lnTo>
                    <a:pt x="2298453" y="202192"/>
                  </a:lnTo>
                  <a:lnTo>
                    <a:pt x="2362943" y="202192"/>
                  </a:lnTo>
                  <a:lnTo>
                    <a:pt x="2404408" y="57034"/>
                  </a:lnTo>
                  <a:close/>
                </a:path>
                <a:path w="2926080" h="342265">
                  <a:moveTo>
                    <a:pt x="2469893" y="176350"/>
                  </a:moveTo>
                  <a:lnTo>
                    <a:pt x="2462500" y="202192"/>
                  </a:lnTo>
                  <a:lnTo>
                    <a:pt x="2469893" y="202192"/>
                  </a:lnTo>
                  <a:lnTo>
                    <a:pt x="2469893" y="176350"/>
                  </a:lnTo>
                  <a:close/>
                </a:path>
                <a:path w="2926080" h="342265">
                  <a:moveTo>
                    <a:pt x="2590004" y="5266"/>
                  </a:moveTo>
                  <a:lnTo>
                    <a:pt x="2518436" y="5266"/>
                  </a:lnTo>
                  <a:lnTo>
                    <a:pt x="2469893" y="176350"/>
                  </a:lnTo>
                  <a:lnTo>
                    <a:pt x="2469893" y="202192"/>
                  </a:lnTo>
                  <a:lnTo>
                    <a:pt x="2526959" y="202192"/>
                  </a:lnTo>
                  <a:lnTo>
                    <a:pt x="2546833" y="133535"/>
                  </a:lnTo>
                  <a:lnTo>
                    <a:pt x="2590004" y="133535"/>
                  </a:lnTo>
                  <a:lnTo>
                    <a:pt x="2590004" y="90300"/>
                  </a:lnTo>
                  <a:lnTo>
                    <a:pt x="2558812" y="90300"/>
                  </a:lnTo>
                  <a:lnTo>
                    <a:pt x="2570193" y="50961"/>
                  </a:lnTo>
                  <a:lnTo>
                    <a:pt x="2590004" y="50961"/>
                  </a:lnTo>
                  <a:lnTo>
                    <a:pt x="2590004" y="5266"/>
                  </a:lnTo>
                  <a:close/>
                </a:path>
                <a:path w="2926080" h="342265">
                  <a:moveTo>
                    <a:pt x="2590004" y="171439"/>
                  </a:moveTo>
                  <a:lnTo>
                    <a:pt x="2587335" y="182273"/>
                  </a:lnTo>
                  <a:lnTo>
                    <a:pt x="2585621" y="191214"/>
                  </a:lnTo>
                  <a:lnTo>
                    <a:pt x="2584761" y="197956"/>
                  </a:lnTo>
                  <a:lnTo>
                    <a:pt x="2584654" y="202192"/>
                  </a:lnTo>
                  <a:lnTo>
                    <a:pt x="2590004" y="202192"/>
                  </a:lnTo>
                  <a:lnTo>
                    <a:pt x="2590004" y="171439"/>
                  </a:lnTo>
                  <a:close/>
                </a:path>
                <a:path w="2926080" h="342265">
                  <a:moveTo>
                    <a:pt x="2611606" y="5266"/>
                  </a:moveTo>
                  <a:lnTo>
                    <a:pt x="2590004" y="5266"/>
                  </a:lnTo>
                  <a:lnTo>
                    <a:pt x="2590004" y="50961"/>
                  </a:lnTo>
                  <a:lnTo>
                    <a:pt x="2600287" y="50961"/>
                  </a:lnTo>
                  <a:lnTo>
                    <a:pt x="2610264" y="52233"/>
                  </a:lnTo>
                  <a:lnTo>
                    <a:pt x="2617424" y="56065"/>
                  </a:lnTo>
                  <a:lnTo>
                    <a:pt x="2621059" y="62477"/>
                  </a:lnTo>
                  <a:lnTo>
                    <a:pt x="2620464" y="71495"/>
                  </a:lnTo>
                  <a:lnTo>
                    <a:pt x="2616546" y="79523"/>
                  </a:lnTo>
                  <a:lnTo>
                    <a:pt x="2610139" y="85158"/>
                  </a:lnTo>
                  <a:lnTo>
                    <a:pt x="2601279" y="88662"/>
                  </a:lnTo>
                  <a:lnTo>
                    <a:pt x="2590004" y="90300"/>
                  </a:lnTo>
                  <a:lnTo>
                    <a:pt x="2590004" y="138110"/>
                  </a:lnTo>
                  <a:lnTo>
                    <a:pt x="2593657" y="142655"/>
                  </a:lnTo>
                  <a:lnTo>
                    <a:pt x="2594791" y="148995"/>
                  </a:lnTo>
                  <a:lnTo>
                    <a:pt x="2593799" y="157338"/>
                  </a:lnTo>
                  <a:lnTo>
                    <a:pt x="2591072" y="167890"/>
                  </a:lnTo>
                  <a:lnTo>
                    <a:pt x="2590004" y="171439"/>
                  </a:lnTo>
                  <a:lnTo>
                    <a:pt x="2590004" y="202192"/>
                  </a:lnTo>
                  <a:lnTo>
                    <a:pt x="2650243" y="202192"/>
                  </a:lnTo>
                  <a:lnTo>
                    <a:pt x="2651667" y="196213"/>
                  </a:lnTo>
                  <a:lnTo>
                    <a:pt x="2647966" y="194484"/>
                  </a:lnTo>
                  <a:lnTo>
                    <a:pt x="2647661" y="188742"/>
                  </a:lnTo>
                  <a:lnTo>
                    <a:pt x="2650158" y="178155"/>
                  </a:lnTo>
                  <a:lnTo>
                    <a:pt x="2654861" y="161890"/>
                  </a:lnTo>
                  <a:lnTo>
                    <a:pt x="2659330" y="138020"/>
                  </a:lnTo>
                  <a:lnTo>
                    <a:pt x="2656746" y="123678"/>
                  </a:lnTo>
                  <a:lnTo>
                    <a:pt x="2648524" y="115329"/>
                  </a:lnTo>
                  <a:lnTo>
                    <a:pt x="2636076" y="109441"/>
                  </a:lnTo>
                  <a:lnTo>
                    <a:pt x="2652933" y="102395"/>
                  </a:lnTo>
                  <a:lnTo>
                    <a:pt x="2666382" y="91442"/>
                  </a:lnTo>
                  <a:lnTo>
                    <a:pt x="2676457" y="77442"/>
                  </a:lnTo>
                  <a:lnTo>
                    <a:pt x="2683195" y="61254"/>
                  </a:lnTo>
                  <a:lnTo>
                    <a:pt x="2685751" y="36360"/>
                  </a:lnTo>
                  <a:lnTo>
                    <a:pt x="2676096" y="18909"/>
                  </a:lnTo>
                  <a:lnTo>
                    <a:pt x="2652094" y="8633"/>
                  </a:lnTo>
                  <a:lnTo>
                    <a:pt x="2611606" y="5266"/>
                  </a:lnTo>
                  <a:close/>
                </a:path>
                <a:path w="2926080" h="342265">
                  <a:moveTo>
                    <a:pt x="2590004" y="133535"/>
                  </a:moveTo>
                  <a:lnTo>
                    <a:pt x="2578361" y="133535"/>
                  </a:lnTo>
                  <a:lnTo>
                    <a:pt x="2585764" y="134938"/>
                  </a:lnTo>
                  <a:lnTo>
                    <a:pt x="2590004" y="138110"/>
                  </a:lnTo>
                  <a:lnTo>
                    <a:pt x="2590004" y="133535"/>
                  </a:lnTo>
                  <a:close/>
                </a:path>
                <a:path w="2926080" h="342265">
                  <a:moveTo>
                    <a:pt x="2469893" y="5266"/>
                  </a:moveTo>
                  <a:lnTo>
                    <a:pt x="2296348" y="5266"/>
                  </a:lnTo>
                  <a:lnTo>
                    <a:pt x="2281469" y="57034"/>
                  </a:lnTo>
                  <a:lnTo>
                    <a:pt x="2462500" y="57034"/>
                  </a:lnTo>
                  <a:lnTo>
                    <a:pt x="2469893" y="31150"/>
                  </a:lnTo>
                  <a:lnTo>
                    <a:pt x="2469893" y="5266"/>
                  </a:lnTo>
                  <a:close/>
                </a:path>
                <a:path w="2926080" h="342265">
                  <a:moveTo>
                    <a:pt x="2476961" y="5266"/>
                  </a:moveTo>
                  <a:lnTo>
                    <a:pt x="2469893" y="5266"/>
                  </a:lnTo>
                  <a:lnTo>
                    <a:pt x="2469893" y="31150"/>
                  </a:lnTo>
                  <a:lnTo>
                    <a:pt x="2476961" y="5266"/>
                  </a:lnTo>
                  <a:close/>
                </a:path>
                <a:path w="2926080" h="342265">
                  <a:moveTo>
                    <a:pt x="2817066" y="3172"/>
                  </a:moveTo>
                  <a:lnTo>
                    <a:pt x="2752917" y="37193"/>
                  </a:lnTo>
                  <a:lnTo>
                    <a:pt x="2714032" y="102007"/>
                  </a:lnTo>
                  <a:lnTo>
                    <a:pt x="2708867" y="146888"/>
                  </a:lnTo>
                  <a:lnTo>
                    <a:pt x="2720489" y="180011"/>
                  </a:lnTo>
                  <a:lnTo>
                    <a:pt x="2747214" y="200516"/>
                  </a:lnTo>
                  <a:lnTo>
                    <a:pt x="2787360" y="207543"/>
                  </a:lnTo>
                  <a:lnTo>
                    <a:pt x="2794986" y="207348"/>
                  </a:lnTo>
                  <a:lnTo>
                    <a:pt x="2802468" y="206756"/>
                  </a:lnTo>
                  <a:lnTo>
                    <a:pt x="2809822" y="205754"/>
                  </a:lnTo>
                  <a:lnTo>
                    <a:pt x="2817066" y="204328"/>
                  </a:lnTo>
                  <a:lnTo>
                    <a:pt x="2817066" y="159377"/>
                  </a:lnTo>
                  <a:lnTo>
                    <a:pt x="2801129" y="159377"/>
                  </a:lnTo>
                  <a:lnTo>
                    <a:pt x="2783592" y="154055"/>
                  </a:lnTo>
                  <a:lnTo>
                    <a:pt x="2775597" y="140464"/>
                  </a:lnTo>
                  <a:lnTo>
                    <a:pt x="2774711" y="122165"/>
                  </a:lnTo>
                  <a:lnTo>
                    <a:pt x="2778501" y="102719"/>
                  </a:lnTo>
                  <a:lnTo>
                    <a:pt x="2784218" y="87243"/>
                  </a:lnTo>
                  <a:lnTo>
                    <a:pt x="2792467" y="72309"/>
                  </a:lnTo>
                  <a:lnTo>
                    <a:pt x="2803374" y="59640"/>
                  </a:lnTo>
                  <a:lnTo>
                    <a:pt x="2817066" y="50961"/>
                  </a:lnTo>
                  <a:lnTo>
                    <a:pt x="2817066" y="3172"/>
                  </a:lnTo>
                  <a:close/>
                </a:path>
                <a:path w="2926080" h="342265">
                  <a:moveTo>
                    <a:pt x="2921568" y="48176"/>
                  </a:moveTo>
                  <a:lnTo>
                    <a:pt x="2832322" y="48176"/>
                  </a:lnTo>
                  <a:lnTo>
                    <a:pt x="2849221" y="52599"/>
                  </a:lnTo>
                  <a:lnTo>
                    <a:pt x="2857860" y="65066"/>
                  </a:lnTo>
                  <a:lnTo>
                    <a:pt x="2849612" y="120984"/>
                  </a:lnTo>
                  <a:lnTo>
                    <a:pt x="2817066" y="156539"/>
                  </a:lnTo>
                  <a:lnTo>
                    <a:pt x="2817066" y="204328"/>
                  </a:lnTo>
                  <a:lnTo>
                    <a:pt x="2880531" y="170408"/>
                  </a:lnTo>
                  <a:lnTo>
                    <a:pt x="2904496" y="140570"/>
                  </a:lnTo>
                  <a:lnTo>
                    <a:pt x="2920853" y="102719"/>
                  </a:lnTo>
                  <a:lnTo>
                    <a:pt x="2925471" y="76154"/>
                  </a:lnTo>
                  <a:lnTo>
                    <a:pt x="2925372" y="65066"/>
                  </a:lnTo>
                  <a:lnTo>
                    <a:pt x="2921568" y="48176"/>
                  </a:lnTo>
                  <a:close/>
                </a:path>
                <a:path w="2926080" h="342265">
                  <a:moveTo>
                    <a:pt x="2817066" y="156539"/>
                  </a:moveTo>
                  <a:lnTo>
                    <a:pt x="2812092" y="158340"/>
                  </a:lnTo>
                  <a:lnTo>
                    <a:pt x="2806783" y="159377"/>
                  </a:lnTo>
                  <a:lnTo>
                    <a:pt x="2817066" y="159377"/>
                  </a:lnTo>
                  <a:lnTo>
                    <a:pt x="2817066" y="156539"/>
                  </a:lnTo>
                  <a:close/>
                </a:path>
                <a:path w="2926080" h="342265">
                  <a:moveTo>
                    <a:pt x="2846489" y="0"/>
                  </a:moveTo>
                  <a:lnTo>
                    <a:pt x="2839047" y="195"/>
                  </a:lnTo>
                  <a:lnTo>
                    <a:pt x="2831636" y="785"/>
                  </a:lnTo>
                  <a:lnTo>
                    <a:pt x="2824296" y="1775"/>
                  </a:lnTo>
                  <a:lnTo>
                    <a:pt x="2817066" y="3172"/>
                  </a:lnTo>
                  <a:lnTo>
                    <a:pt x="2817066" y="50961"/>
                  </a:lnTo>
                  <a:lnTo>
                    <a:pt x="2821641" y="49202"/>
                  </a:lnTo>
                  <a:lnTo>
                    <a:pt x="2826615" y="48176"/>
                  </a:lnTo>
                  <a:lnTo>
                    <a:pt x="2921568" y="48176"/>
                  </a:lnTo>
                  <a:lnTo>
                    <a:pt x="2919704" y="39897"/>
                  </a:lnTo>
                  <a:lnTo>
                    <a:pt x="2905106" y="19088"/>
                  </a:lnTo>
                  <a:lnTo>
                    <a:pt x="2880945" y="5111"/>
                  </a:lnTo>
                  <a:lnTo>
                    <a:pt x="2846489" y="0"/>
                  </a:lnTo>
                  <a:close/>
                </a:path>
                <a:path w="2926080" h="342265">
                  <a:moveTo>
                    <a:pt x="533763" y="3957"/>
                  </a:moveTo>
                  <a:lnTo>
                    <a:pt x="0" y="3957"/>
                  </a:lnTo>
                  <a:lnTo>
                    <a:pt x="0" y="342188"/>
                  </a:lnTo>
                  <a:lnTo>
                    <a:pt x="533763" y="342188"/>
                  </a:lnTo>
                  <a:lnTo>
                    <a:pt x="533763" y="3957"/>
                  </a:lnTo>
                  <a:close/>
                </a:path>
              </a:pathLst>
            </a:custGeom>
            <a:solidFill>
              <a:srgbClr val="00814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2" name="object 116">
              <a:extLst>
                <a:ext uri="{FF2B5EF4-FFF2-40B4-BE49-F238E27FC236}">
                  <a16:creationId xmlns:a16="http://schemas.microsoft.com/office/drawing/2014/main" id="{AC0804E4-EBBF-D1D2-1767-44DA19323C7C}"/>
                </a:ext>
              </a:extLst>
            </p:cNvPr>
            <p:cNvSpPr/>
            <p:nvPr/>
          </p:nvSpPr>
          <p:spPr>
            <a:xfrm>
              <a:off x="16766546" y="10371568"/>
              <a:ext cx="534035" cy="129539"/>
            </a:xfrm>
            <a:custGeom>
              <a:avLst/>
              <a:gdLst/>
              <a:ahLst/>
              <a:cxnLst/>
              <a:rect l="l" t="t" r="r" b="b"/>
              <a:pathLst>
                <a:path w="534034" h="129540">
                  <a:moveTo>
                    <a:pt x="533763" y="0"/>
                  </a:moveTo>
                  <a:lnTo>
                    <a:pt x="0" y="0"/>
                  </a:lnTo>
                  <a:lnTo>
                    <a:pt x="0" y="129325"/>
                  </a:lnTo>
                  <a:lnTo>
                    <a:pt x="533763" y="129325"/>
                  </a:lnTo>
                  <a:lnTo>
                    <a:pt x="533763" y="0"/>
                  </a:lnTo>
                  <a:close/>
                </a:path>
              </a:pathLst>
            </a:custGeom>
            <a:solidFill>
              <a:srgbClr val="FDC42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4" name="object 117">
              <a:extLst>
                <a:ext uri="{FF2B5EF4-FFF2-40B4-BE49-F238E27FC236}">
                  <a16:creationId xmlns:a16="http://schemas.microsoft.com/office/drawing/2014/main" id="{BAE3332C-B616-A21E-5331-5BADF922AE8F}"/>
                </a:ext>
              </a:extLst>
            </p:cNvPr>
            <p:cNvSpPr/>
            <p:nvPr/>
          </p:nvSpPr>
          <p:spPr>
            <a:xfrm>
              <a:off x="16766445" y="10500818"/>
              <a:ext cx="534035" cy="264160"/>
            </a:xfrm>
            <a:custGeom>
              <a:avLst/>
              <a:gdLst/>
              <a:ahLst/>
              <a:cxnLst/>
              <a:rect l="l" t="t" r="r" b="b"/>
              <a:pathLst>
                <a:path w="534034" h="264159">
                  <a:moveTo>
                    <a:pt x="450292" y="187219"/>
                  </a:moveTo>
                  <a:lnTo>
                    <a:pt x="377108" y="187219"/>
                  </a:lnTo>
                  <a:lnTo>
                    <a:pt x="390664" y="189651"/>
                  </a:lnTo>
                  <a:lnTo>
                    <a:pt x="397101" y="195484"/>
                  </a:lnTo>
                  <a:lnTo>
                    <a:pt x="399147" y="202525"/>
                  </a:lnTo>
                  <a:lnTo>
                    <a:pt x="399539" y="208939"/>
                  </a:lnTo>
                  <a:lnTo>
                    <a:pt x="401411" y="263594"/>
                  </a:lnTo>
                  <a:lnTo>
                    <a:pt x="455085" y="263552"/>
                  </a:lnTo>
                  <a:lnTo>
                    <a:pt x="452436" y="197334"/>
                  </a:lnTo>
                  <a:lnTo>
                    <a:pt x="450292" y="187219"/>
                  </a:lnTo>
                  <a:close/>
                </a:path>
                <a:path w="534034" h="264159">
                  <a:moveTo>
                    <a:pt x="422489" y="64689"/>
                  </a:moveTo>
                  <a:lnTo>
                    <a:pt x="322262" y="64689"/>
                  </a:lnTo>
                  <a:lnTo>
                    <a:pt x="265175" y="262002"/>
                  </a:lnTo>
                  <a:lnTo>
                    <a:pt x="322953" y="262002"/>
                  </a:lnTo>
                  <a:lnTo>
                    <a:pt x="344073" y="187219"/>
                  </a:lnTo>
                  <a:lnTo>
                    <a:pt x="450292" y="187219"/>
                  </a:lnTo>
                  <a:lnTo>
                    <a:pt x="450248" y="187014"/>
                  </a:lnTo>
                  <a:lnTo>
                    <a:pt x="445457" y="179838"/>
                  </a:lnTo>
                  <a:lnTo>
                    <a:pt x="439119" y="175649"/>
                  </a:lnTo>
                  <a:lnTo>
                    <a:pt x="432290" y="174287"/>
                  </a:lnTo>
                  <a:lnTo>
                    <a:pt x="444656" y="169031"/>
                  </a:lnTo>
                  <a:lnTo>
                    <a:pt x="455538" y="161196"/>
                  </a:lnTo>
                  <a:lnTo>
                    <a:pt x="464319" y="152345"/>
                  </a:lnTo>
                  <a:lnTo>
                    <a:pt x="467089" y="148550"/>
                  </a:lnTo>
                  <a:lnTo>
                    <a:pt x="355025" y="148550"/>
                  </a:lnTo>
                  <a:lnTo>
                    <a:pt x="367203" y="104394"/>
                  </a:lnTo>
                  <a:lnTo>
                    <a:pt x="477533" y="104394"/>
                  </a:lnTo>
                  <a:lnTo>
                    <a:pt x="475650" y="95892"/>
                  </a:lnTo>
                  <a:lnTo>
                    <a:pt x="465661" y="79905"/>
                  </a:lnTo>
                  <a:lnTo>
                    <a:pt x="452026" y="70497"/>
                  </a:lnTo>
                  <a:lnTo>
                    <a:pt x="436914" y="65986"/>
                  </a:lnTo>
                  <a:lnTo>
                    <a:pt x="422489" y="64689"/>
                  </a:lnTo>
                  <a:close/>
                </a:path>
                <a:path w="534034" h="264159">
                  <a:moveTo>
                    <a:pt x="197554" y="64689"/>
                  </a:moveTo>
                  <a:lnTo>
                    <a:pt x="102740" y="64689"/>
                  </a:lnTo>
                  <a:lnTo>
                    <a:pt x="45862" y="261583"/>
                  </a:lnTo>
                  <a:lnTo>
                    <a:pt x="162372" y="261583"/>
                  </a:lnTo>
                  <a:lnTo>
                    <a:pt x="193085" y="259611"/>
                  </a:lnTo>
                  <a:lnTo>
                    <a:pt x="231804" y="241217"/>
                  </a:lnTo>
                  <a:lnTo>
                    <a:pt x="244382" y="221029"/>
                  </a:lnTo>
                  <a:lnTo>
                    <a:pt x="114917" y="221029"/>
                  </a:lnTo>
                  <a:lnTo>
                    <a:pt x="127210" y="178486"/>
                  </a:lnTo>
                  <a:lnTo>
                    <a:pt x="244256" y="178486"/>
                  </a:lnTo>
                  <a:lnTo>
                    <a:pt x="242212" y="174402"/>
                  </a:lnTo>
                  <a:lnTo>
                    <a:pt x="236392" y="167566"/>
                  </a:lnTo>
                  <a:lnTo>
                    <a:pt x="231130" y="163183"/>
                  </a:lnTo>
                  <a:lnTo>
                    <a:pt x="228275" y="161481"/>
                  </a:lnTo>
                  <a:lnTo>
                    <a:pt x="238829" y="154716"/>
                  </a:lnTo>
                  <a:lnTo>
                    <a:pt x="246786" y="146769"/>
                  </a:lnTo>
                  <a:lnTo>
                    <a:pt x="251334" y="140644"/>
                  </a:lnTo>
                  <a:lnTo>
                    <a:pt x="138027" y="140644"/>
                  </a:lnTo>
                  <a:lnTo>
                    <a:pt x="148246" y="104143"/>
                  </a:lnTo>
                  <a:lnTo>
                    <a:pt x="258753" y="104143"/>
                  </a:lnTo>
                  <a:lnTo>
                    <a:pt x="257796" y="97699"/>
                  </a:lnTo>
                  <a:lnTo>
                    <a:pt x="250212" y="83788"/>
                  </a:lnTo>
                  <a:lnTo>
                    <a:pt x="239272" y="74635"/>
                  </a:lnTo>
                  <a:lnTo>
                    <a:pt x="225736" y="68839"/>
                  </a:lnTo>
                  <a:lnTo>
                    <a:pt x="211274" y="65742"/>
                  </a:lnTo>
                  <a:lnTo>
                    <a:pt x="197554" y="64689"/>
                  </a:lnTo>
                  <a:close/>
                </a:path>
                <a:path w="534034" h="264159">
                  <a:moveTo>
                    <a:pt x="244256" y="178486"/>
                  </a:moveTo>
                  <a:lnTo>
                    <a:pt x="184538" y="178486"/>
                  </a:lnTo>
                  <a:lnTo>
                    <a:pt x="185606" y="183627"/>
                  </a:lnTo>
                  <a:lnTo>
                    <a:pt x="188214" y="187994"/>
                  </a:lnTo>
                  <a:lnTo>
                    <a:pt x="190790" y="192360"/>
                  </a:lnTo>
                  <a:lnTo>
                    <a:pt x="189596" y="201533"/>
                  </a:lnTo>
                  <a:lnTo>
                    <a:pt x="187826" y="204695"/>
                  </a:lnTo>
                  <a:lnTo>
                    <a:pt x="185548" y="208939"/>
                  </a:lnTo>
                  <a:lnTo>
                    <a:pt x="180935" y="214366"/>
                  </a:lnTo>
                  <a:lnTo>
                    <a:pt x="172228" y="219041"/>
                  </a:lnTo>
                  <a:lnTo>
                    <a:pt x="157670" y="221029"/>
                  </a:lnTo>
                  <a:lnTo>
                    <a:pt x="244382" y="221029"/>
                  </a:lnTo>
                  <a:lnTo>
                    <a:pt x="246728" y="215158"/>
                  </a:lnTo>
                  <a:lnTo>
                    <a:pt x="248941" y="198884"/>
                  </a:lnTo>
                  <a:lnTo>
                    <a:pt x="246746" y="183460"/>
                  </a:lnTo>
                  <a:lnTo>
                    <a:pt x="244256" y="178486"/>
                  </a:lnTo>
                  <a:close/>
                </a:path>
                <a:path w="534034" h="264159">
                  <a:moveTo>
                    <a:pt x="477533" y="104394"/>
                  </a:moveTo>
                  <a:lnTo>
                    <a:pt x="409202" y="104394"/>
                  </a:lnTo>
                  <a:lnTo>
                    <a:pt x="420873" y="106570"/>
                  </a:lnTo>
                  <a:lnTo>
                    <a:pt x="427070" y="111647"/>
                  </a:lnTo>
                  <a:lnTo>
                    <a:pt x="429522" y="117448"/>
                  </a:lnTo>
                  <a:lnTo>
                    <a:pt x="429955" y="121797"/>
                  </a:lnTo>
                  <a:lnTo>
                    <a:pt x="428341" y="129758"/>
                  </a:lnTo>
                  <a:lnTo>
                    <a:pt x="422972" y="138535"/>
                  </a:lnTo>
                  <a:lnTo>
                    <a:pt x="413058" y="145630"/>
                  </a:lnTo>
                  <a:lnTo>
                    <a:pt x="397809" y="148550"/>
                  </a:lnTo>
                  <a:lnTo>
                    <a:pt x="467089" y="148550"/>
                  </a:lnTo>
                  <a:lnTo>
                    <a:pt x="470383" y="144037"/>
                  </a:lnTo>
                  <a:lnTo>
                    <a:pt x="475068" y="134205"/>
                  </a:lnTo>
                  <a:lnTo>
                    <a:pt x="478149" y="122477"/>
                  </a:lnTo>
                  <a:lnTo>
                    <a:pt x="478663" y="109493"/>
                  </a:lnTo>
                  <a:lnTo>
                    <a:pt x="477533" y="104394"/>
                  </a:lnTo>
                  <a:close/>
                </a:path>
                <a:path w="534034" h="264159">
                  <a:moveTo>
                    <a:pt x="258753" y="104143"/>
                  </a:moveTo>
                  <a:lnTo>
                    <a:pt x="201595" y="104143"/>
                  </a:lnTo>
                  <a:lnTo>
                    <a:pt x="209637" y="109808"/>
                  </a:lnTo>
                  <a:lnTo>
                    <a:pt x="209637" y="119211"/>
                  </a:lnTo>
                  <a:lnTo>
                    <a:pt x="207849" y="127865"/>
                  </a:lnTo>
                  <a:lnTo>
                    <a:pt x="202869" y="134643"/>
                  </a:lnTo>
                  <a:lnTo>
                    <a:pt x="195276" y="139064"/>
                  </a:lnTo>
                  <a:lnTo>
                    <a:pt x="185648" y="140644"/>
                  </a:lnTo>
                  <a:lnTo>
                    <a:pt x="251334" y="140644"/>
                  </a:lnTo>
                  <a:lnTo>
                    <a:pt x="252001" y="139746"/>
                  </a:lnTo>
                  <a:lnTo>
                    <a:pt x="254327" y="135755"/>
                  </a:lnTo>
                  <a:lnTo>
                    <a:pt x="258193" y="125006"/>
                  </a:lnTo>
                  <a:lnTo>
                    <a:pt x="259903" y="111880"/>
                  </a:lnTo>
                  <a:lnTo>
                    <a:pt x="258753" y="104143"/>
                  </a:lnTo>
                  <a:close/>
                </a:path>
                <a:path w="534034" h="264159">
                  <a:moveTo>
                    <a:pt x="533868" y="0"/>
                  </a:moveTo>
                  <a:lnTo>
                    <a:pt x="0" y="0"/>
                  </a:lnTo>
                  <a:lnTo>
                    <a:pt x="0" y="64689"/>
                  </a:lnTo>
                  <a:lnTo>
                    <a:pt x="533868" y="64689"/>
                  </a:lnTo>
                  <a:lnTo>
                    <a:pt x="533868"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pic>
        <p:nvPicPr>
          <p:cNvPr id="5" name="Imagem 4" descr="Gráfico, Gráfico de linhas&#10;&#10;O conteúdo gerado por IA pode estar incorreto.">
            <a:extLst>
              <a:ext uri="{FF2B5EF4-FFF2-40B4-BE49-F238E27FC236}">
                <a16:creationId xmlns:a16="http://schemas.microsoft.com/office/drawing/2014/main" id="{E1605C27-9334-63E9-39DF-EEFAAAB7CA5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783780" y="1219200"/>
            <a:ext cx="4663999" cy="4585657"/>
          </a:xfrm>
          <a:prstGeom prst="rect">
            <a:avLst/>
          </a:prstGeom>
        </p:spPr>
      </p:pic>
      <p:sp>
        <p:nvSpPr>
          <p:cNvPr id="9" name="CaixaDeTexto 8">
            <a:extLst>
              <a:ext uri="{FF2B5EF4-FFF2-40B4-BE49-F238E27FC236}">
                <a16:creationId xmlns:a16="http://schemas.microsoft.com/office/drawing/2014/main" id="{4EE536C1-FD90-C936-650A-27DE6C7CCE39}"/>
              </a:ext>
            </a:extLst>
          </p:cNvPr>
          <p:cNvSpPr txBox="1"/>
          <p:nvPr/>
        </p:nvSpPr>
        <p:spPr>
          <a:xfrm>
            <a:off x="257075" y="1416370"/>
            <a:ext cx="3843511" cy="3737818"/>
          </a:xfrm>
          <a:prstGeom prst="rect">
            <a:avLst/>
          </a:prstGeom>
          <a:noFill/>
        </p:spPr>
        <p:txBody>
          <a:bodyPr wrap="square">
            <a:spAutoFit/>
          </a:bodyPr>
          <a:lstStyle/>
          <a:p>
            <a:pPr algn="just"/>
            <a:r>
              <a:rPr lang="en-US" sz="1467" b="1" i="1" dirty="0"/>
              <a:t>“The Great Global Transformation argues that the neoliberal model of globalization that has dominated since 1989 is coming to an end, supplanted by a new system (national market liberalism) that mixes open domestic markets with protectionist foreign policies and intensified geopolitical competition.</a:t>
            </a:r>
          </a:p>
          <a:p>
            <a:pPr algn="just"/>
            <a:endParaRPr lang="en-US" sz="1467" b="1" i="1" dirty="0"/>
          </a:p>
          <a:p>
            <a:pPr algn="just"/>
            <a:r>
              <a:rPr lang="en-US" sz="1467" b="1" i="1" u="sng" dirty="0"/>
              <a:t>It is not the end of the market—it is the market subordinated to geopolitics.</a:t>
            </a:r>
          </a:p>
          <a:p>
            <a:pPr algn="just"/>
            <a:r>
              <a:rPr lang="en-US" sz="1467" b="1" i="1" u="sng" dirty="0"/>
              <a:t>Markets remain central, but now embedded in a logic of power.”</a:t>
            </a:r>
          </a:p>
          <a:p>
            <a:pPr algn="just"/>
            <a:endParaRPr lang="en-US" sz="1467" b="1" i="1" dirty="0"/>
          </a:p>
          <a:p>
            <a:pPr algn="just"/>
            <a:r>
              <a:rPr lang="en-US" sz="1050" b="1" i="1" dirty="0"/>
              <a:t>Milanovic, B. (2025). The Great Global Transformation: The United States, China, and the Rise of a New World Order. University of Chicago Press.</a:t>
            </a:r>
            <a:endParaRPr lang="pt-BR" sz="1050" b="1" i="1" dirty="0"/>
          </a:p>
        </p:txBody>
      </p:sp>
      <p:pic>
        <p:nvPicPr>
          <p:cNvPr id="10" name="Imagem 9" descr="Gráfico&#10;&#10;O conteúdo gerado por IA pode estar incorreto.">
            <a:extLst>
              <a:ext uri="{FF2B5EF4-FFF2-40B4-BE49-F238E27FC236}">
                <a16:creationId xmlns:a16="http://schemas.microsoft.com/office/drawing/2014/main" id="{7866B043-B3E5-7F50-C92C-10F36F2C2197}"/>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34632" y="1307690"/>
            <a:ext cx="4086951" cy="4139381"/>
          </a:xfrm>
          <a:prstGeom prst="rect">
            <a:avLst/>
          </a:prstGeom>
        </p:spPr>
      </p:pic>
      <p:sp>
        <p:nvSpPr>
          <p:cNvPr id="13" name="CaixaDeTexto 12">
            <a:extLst>
              <a:ext uri="{FF2B5EF4-FFF2-40B4-BE49-F238E27FC236}">
                <a16:creationId xmlns:a16="http://schemas.microsoft.com/office/drawing/2014/main" id="{1B967DCF-C5F2-971F-447B-EA587712DEFB}"/>
              </a:ext>
            </a:extLst>
          </p:cNvPr>
          <p:cNvSpPr txBox="1"/>
          <p:nvPr/>
        </p:nvSpPr>
        <p:spPr>
          <a:xfrm>
            <a:off x="8187377" y="2765585"/>
            <a:ext cx="3339434" cy="1277273"/>
          </a:xfrm>
          <a:prstGeom prst="rect">
            <a:avLst/>
          </a:prstGeom>
          <a:noFill/>
        </p:spPr>
        <p:txBody>
          <a:bodyPr wrap="square">
            <a:spAutoFit/>
          </a:bodyPr>
          <a:lstStyle/>
          <a:p>
            <a:pPr algn="just"/>
            <a:r>
              <a:rPr lang="en-US" sz="1100" b="1" dirty="0"/>
              <a:t>Global income inequality trends from 1988 to 2008. It shows that during this period of high globalization, the emerging middle class in Asia saw massive income gains (the "back"), while the lower-middle class in developed nations stagnated (the "trough"), and the top 1% gained significantly (the "trunk").</a:t>
            </a:r>
            <a:endParaRPr lang="pt-BR" sz="1100" b="1" dirty="0"/>
          </a:p>
        </p:txBody>
      </p:sp>
      <p:pic>
        <p:nvPicPr>
          <p:cNvPr id="20" name="Imagem 19" descr="Texto&#10;&#10;O conteúdo gerado por IA pode estar incorreto.">
            <a:extLst>
              <a:ext uri="{FF2B5EF4-FFF2-40B4-BE49-F238E27FC236}">
                <a16:creationId xmlns:a16="http://schemas.microsoft.com/office/drawing/2014/main" id="{331AF547-333C-7891-14CE-E2DAAF89EDF2}"/>
              </a:ext>
            </a:extLst>
          </p:cNvPr>
          <p:cNvPicPr>
            <a:picLocks noChangeAspect="1"/>
          </p:cNvPicPr>
          <p:nvPr/>
        </p:nvPicPr>
        <p:blipFill>
          <a:blip r:embed="rId10"/>
          <a:stretch>
            <a:fillRect/>
          </a:stretch>
        </p:blipFill>
        <p:spPr>
          <a:xfrm>
            <a:off x="379421" y="5358113"/>
            <a:ext cx="1036424" cy="138189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1" name="Picture 2" descr="Branko Milanović – Wikipédia, a enciclopédia livre">
            <a:extLst>
              <a:ext uri="{FF2B5EF4-FFF2-40B4-BE49-F238E27FC236}">
                <a16:creationId xmlns:a16="http://schemas.microsoft.com/office/drawing/2014/main" id="{0DE4D134-9379-F2D9-782A-24DF39CAD18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779218" y="5321041"/>
            <a:ext cx="1013144" cy="141306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2" name="Elipse 21">
            <a:extLst>
              <a:ext uri="{FF2B5EF4-FFF2-40B4-BE49-F238E27FC236}">
                <a16:creationId xmlns:a16="http://schemas.microsoft.com/office/drawing/2014/main" id="{5C629B7D-1FD0-F903-18F8-FB1E6EC11698}"/>
              </a:ext>
            </a:extLst>
          </p:cNvPr>
          <p:cNvSpPr/>
          <p:nvPr/>
        </p:nvSpPr>
        <p:spPr>
          <a:xfrm>
            <a:off x="11685200" y="6374990"/>
            <a:ext cx="398310" cy="398207"/>
          </a:xfrm>
          <a:prstGeom prst="ellipse">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800" b="1" dirty="0">
                <a:solidFill>
                  <a:srgbClr val="006199"/>
                </a:solidFill>
              </a:rPr>
              <a:t>P</a:t>
            </a:r>
          </a:p>
        </p:txBody>
      </p:sp>
      <p:pic>
        <p:nvPicPr>
          <p:cNvPr id="3" name="Imagem 2">
            <a:extLst>
              <a:ext uri="{FF2B5EF4-FFF2-40B4-BE49-F238E27FC236}">
                <a16:creationId xmlns:a16="http://schemas.microsoft.com/office/drawing/2014/main" id="{DA636E9D-0F25-6A51-2532-0AAA85E1C8AF}"/>
              </a:ext>
            </a:extLst>
          </p:cNvPr>
          <p:cNvPicPr>
            <a:picLocks noChangeAspect="1"/>
          </p:cNvPicPr>
          <p:nvPr/>
        </p:nvPicPr>
        <p:blipFill>
          <a:blip r:embed="rId12"/>
          <a:stretch>
            <a:fillRect/>
          </a:stretch>
        </p:blipFill>
        <p:spPr>
          <a:xfrm>
            <a:off x="9037368" y="5535561"/>
            <a:ext cx="1375414" cy="82051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6" name="CaixaDeTexto 15">
            <a:extLst>
              <a:ext uri="{FF2B5EF4-FFF2-40B4-BE49-F238E27FC236}">
                <a16:creationId xmlns:a16="http://schemas.microsoft.com/office/drawing/2014/main" id="{F47F8CAD-582A-B453-5F99-CC21C2314C1A}"/>
              </a:ext>
            </a:extLst>
          </p:cNvPr>
          <p:cNvSpPr txBox="1"/>
          <p:nvPr/>
        </p:nvSpPr>
        <p:spPr>
          <a:xfrm>
            <a:off x="248404" y="265471"/>
            <a:ext cx="11773179" cy="461665"/>
          </a:xfrm>
          <a:prstGeom prst="rect">
            <a:avLst/>
          </a:prstGeom>
          <a:noFill/>
        </p:spPr>
        <p:txBody>
          <a:bodyPr wrap="square">
            <a:spAutoFit/>
          </a:bodyPr>
          <a:lstStyle/>
          <a:p>
            <a:pPr marL="0" marR="0" lvl="0" indent="0" algn="l" defTabSz="1218832"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8542"/>
                </a:solidFill>
                <a:effectLst/>
                <a:uLnTx/>
                <a:uFillTx/>
                <a:latin typeface="Trebuchet MS" panose="020B0703020202090204" pitchFamily="34" charset="0"/>
                <a:ea typeface="+mn-ea"/>
                <a:cs typeface="+mn-cs"/>
              </a:rPr>
              <a:t>INTRODUCTION</a:t>
            </a:r>
            <a:r>
              <a:rPr kumimoji="0" lang="en-US" sz="2200" b="1" i="0" u="none" strike="noStrike" kern="1200" cap="none" spc="0" normalizeH="0" baseline="0" noProof="0" dirty="0">
                <a:ln>
                  <a:noFill/>
                </a:ln>
                <a:solidFill>
                  <a:srgbClr val="008542"/>
                </a:solidFill>
                <a:effectLst/>
                <a:uLnTx/>
                <a:uFillTx/>
                <a:latin typeface="Trebuchet MS" panose="020B0703020202090204" pitchFamily="34" charset="0"/>
                <a:ea typeface="+mn-ea"/>
                <a:cs typeface="+mn-cs"/>
              </a:rPr>
              <a:t> – WORLD OF INTERREGNUM - AND IT'S GETTING HARDER</a:t>
            </a:r>
          </a:p>
        </p:txBody>
      </p:sp>
      <p:sp>
        <p:nvSpPr>
          <p:cNvPr id="17" name="Retângulo 16">
            <a:extLst>
              <a:ext uri="{FF2B5EF4-FFF2-40B4-BE49-F238E27FC236}">
                <a16:creationId xmlns:a16="http://schemas.microsoft.com/office/drawing/2014/main" id="{7DA98B82-E409-DF4C-9FFD-562BB3E7AAAF}"/>
              </a:ext>
            </a:extLst>
          </p:cNvPr>
          <p:cNvSpPr/>
          <p:nvPr/>
        </p:nvSpPr>
        <p:spPr>
          <a:xfrm>
            <a:off x="419378" y="848159"/>
            <a:ext cx="420421" cy="41563"/>
          </a:xfrm>
          <a:prstGeom prst="rect">
            <a:avLst/>
          </a:prstGeom>
          <a:solidFill>
            <a:srgbClr val="FDC6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Trebuchet MS" panose="020B0703020202090204" pitchFamily="34" charset="0"/>
              <a:ea typeface="+mn-ea"/>
              <a:cs typeface="+mn-cs"/>
            </a:endParaRPr>
          </a:p>
        </p:txBody>
      </p:sp>
    </p:spTree>
    <p:extLst>
      <p:ext uri="{BB962C8B-B14F-4D97-AF65-F5344CB8AC3E}">
        <p14:creationId xmlns:p14="http://schemas.microsoft.com/office/powerpoint/2010/main" val="3254932041"/>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E1CD46-8D1C-F3BB-686F-F7112A2D4439}"/>
            </a:ext>
          </a:extLst>
        </p:cNvPr>
        <p:cNvGrpSpPr/>
        <p:nvPr/>
      </p:nvGrpSpPr>
      <p:grpSpPr>
        <a:xfrm>
          <a:off x="0" y="0"/>
          <a:ext cx="0" cy="0"/>
          <a:chOff x="0" y="0"/>
          <a:chExt cx="0" cy="0"/>
        </a:xfrm>
      </p:grpSpPr>
      <p:pic>
        <p:nvPicPr>
          <p:cNvPr id="4" name="Imagem 3" descr="Texto&#10;&#10;O conteúdo gerado por IA pode estar incorreto.">
            <a:extLst>
              <a:ext uri="{FF2B5EF4-FFF2-40B4-BE49-F238E27FC236}">
                <a16:creationId xmlns:a16="http://schemas.microsoft.com/office/drawing/2014/main" id="{16964C6F-792F-ECA5-4D18-F839877B5E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1569" y="6224288"/>
            <a:ext cx="1775743" cy="425021"/>
          </a:xfrm>
          <a:prstGeom prst="rect">
            <a:avLst/>
          </a:prstGeom>
        </p:spPr>
      </p:pic>
      <p:pic>
        <p:nvPicPr>
          <p:cNvPr id="3" name="Imagem 2" descr="Uma imagem contendo Forma&#10;&#10;O conteúdo gerado por IA pode estar incorreto.">
            <a:extLst>
              <a:ext uri="{FF2B5EF4-FFF2-40B4-BE49-F238E27FC236}">
                <a16:creationId xmlns:a16="http://schemas.microsoft.com/office/drawing/2014/main" id="{0D5AC1BA-D1D8-F0F7-E938-78E118EC834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63494" y="4475018"/>
            <a:ext cx="1419393" cy="2382982"/>
          </a:xfrm>
          <a:prstGeom prst="rect">
            <a:avLst/>
          </a:prstGeom>
        </p:spPr>
      </p:pic>
      <p:sp>
        <p:nvSpPr>
          <p:cNvPr id="2" name="Title 1">
            <a:extLst>
              <a:ext uri="{FF2B5EF4-FFF2-40B4-BE49-F238E27FC236}">
                <a16:creationId xmlns:a16="http://schemas.microsoft.com/office/drawing/2014/main" id="{9B8B2A09-A07E-8B43-F08B-08F25DE4AE84}"/>
              </a:ext>
            </a:extLst>
          </p:cNvPr>
          <p:cNvSpPr>
            <a:spLocks noGrp="1"/>
          </p:cNvSpPr>
          <p:nvPr>
            <p:ph type="title"/>
          </p:nvPr>
        </p:nvSpPr>
        <p:spPr>
          <a:xfrm>
            <a:off x="5782963" y="1262195"/>
            <a:ext cx="6054810" cy="565698"/>
          </a:xfrm>
        </p:spPr>
        <p:txBody>
          <a:bodyPr anchor="b">
            <a:normAutofit/>
          </a:bodyPr>
          <a:lstStyle/>
          <a:p>
            <a:pPr algn="ctr"/>
            <a:r>
              <a:rPr lang="en-US" sz="2700" b="1" dirty="0">
                <a:latin typeface="Calibri" panose="020F0502020204030204" pitchFamily="34" charset="0"/>
                <a:ea typeface="Calibri" panose="020F0502020204030204" pitchFamily="34" charset="0"/>
                <a:cs typeface="Calibri" panose="020F0502020204030204" pitchFamily="34" charset="0"/>
              </a:rPr>
              <a:t>Three coexisting global orders:</a:t>
            </a:r>
          </a:p>
        </p:txBody>
      </p:sp>
      <p:pic>
        <p:nvPicPr>
          <p:cNvPr id="5" name="Content Placeholder 4" descr="Modern background">
            <a:extLst>
              <a:ext uri="{FF2B5EF4-FFF2-40B4-BE49-F238E27FC236}">
                <a16:creationId xmlns:a16="http://schemas.microsoft.com/office/drawing/2014/main" id="{335FFFB0-52AE-041B-400B-D7926CD3D946}"/>
              </a:ext>
            </a:extLst>
          </p:cNvPr>
          <p:cNvPicPr>
            <a:picLocks noChangeAspect="1"/>
          </p:cNvPicPr>
          <p:nvPr/>
        </p:nvPicPr>
        <p:blipFill>
          <a:blip r:embed="rId4"/>
          <a:srcRect l="6554" r="31534" b="2"/>
          <a:stretch>
            <a:fillRect/>
          </a:stretch>
        </p:blipFill>
        <p:spPr>
          <a:xfrm>
            <a:off x="682400" y="1545044"/>
            <a:ext cx="4746336" cy="4542766"/>
          </a:xfrm>
          <a:prstGeom prst="rect">
            <a:avLst/>
          </a:prstGeom>
          <a:noFill/>
        </p:spPr>
      </p:pic>
      <p:sp>
        <p:nvSpPr>
          <p:cNvPr id="6" name="Content Placeholder 3">
            <a:extLst>
              <a:ext uri="{FF2B5EF4-FFF2-40B4-BE49-F238E27FC236}">
                <a16:creationId xmlns:a16="http://schemas.microsoft.com/office/drawing/2014/main" id="{301989A0-E6E2-F8EE-517A-DF680BE559A3}"/>
              </a:ext>
            </a:extLst>
          </p:cNvPr>
          <p:cNvSpPr txBox="1">
            <a:spLocks/>
          </p:cNvSpPr>
          <p:nvPr>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5782962" y="2133607"/>
            <a:ext cx="6054810" cy="309879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lgn="just">
              <a:spcBef>
                <a:spcPts val="2500"/>
              </a:spcBef>
              <a:buFont typeface="+mj-lt"/>
              <a:buAutoNum type="arabicPeriod"/>
            </a:pPr>
            <a:r>
              <a:rPr lang="en-US" sz="1600" b="1" dirty="0">
                <a:latin typeface="Calibri" panose="020F0502020204030204" pitchFamily="34" charset="0"/>
                <a:ea typeface="Calibri" panose="020F0502020204030204" pitchFamily="34" charset="0"/>
                <a:cs typeface="Calibri" panose="020F0502020204030204" pitchFamily="34" charset="0"/>
              </a:rPr>
              <a:t>Unipolar Military Order - The global military order is dominated by the United States, with a significant military presence worldwide.</a:t>
            </a:r>
          </a:p>
          <a:p>
            <a:pPr marL="342900" indent="-342900" algn="just">
              <a:spcBef>
                <a:spcPts val="2500"/>
              </a:spcBef>
              <a:buFont typeface="+mj-lt"/>
              <a:buAutoNum type="arabicPeriod"/>
            </a:pPr>
            <a:r>
              <a:rPr lang="en-US" sz="1600" b="1" dirty="0">
                <a:latin typeface="Calibri" panose="020F0502020204030204" pitchFamily="34" charset="0"/>
                <a:ea typeface="Calibri" panose="020F0502020204030204" pitchFamily="34" charset="0"/>
                <a:cs typeface="Calibri" panose="020F0502020204030204" pitchFamily="34" charset="0"/>
              </a:rPr>
              <a:t>Multipolar Economic Order - Economic power is shared between countries such as China, Brazil, the EU, and India, shaping global trade and finance.</a:t>
            </a:r>
          </a:p>
          <a:p>
            <a:pPr marL="342900" indent="-342900" algn="just">
              <a:spcBef>
                <a:spcPts val="2500"/>
              </a:spcBef>
              <a:buFont typeface="+mj-lt"/>
              <a:buAutoNum type="arabicPeriod"/>
            </a:pPr>
            <a:r>
              <a:rPr lang="en-US" sz="1600" b="1" dirty="0">
                <a:latin typeface="Calibri" panose="020F0502020204030204" pitchFamily="34" charset="0"/>
                <a:ea typeface="Calibri" panose="020F0502020204030204" pitchFamily="34" charset="0"/>
                <a:cs typeface="Calibri" panose="020F0502020204030204" pitchFamily="34" charset="0"/>
              </a:rPr>
              <a:t>Digital Order - Technology companies influence behaviors, opinions, and identities through digital platforms and algorithms.</a:t>
            </a:r>
          </a:p>
          <a:p>
            <a:pPr marL="342900" indent="-342900" algn="just">
              <a:spcBef>
                <a:spcPts val="2500"/>
              </a:spcBef>
              <a:buFont typeface="+mj-lt"/>
              <a:buAutoNum type="arabicPeriod"/>
            </a:pPr>
            <a:r>
              <a:rPr lang="en-US" sz="1600" b="1" dirty="0">
                <a:latin typeface="Calibri" panose="020F0502020204030204" pitchFamily="34" charset="0"/>
                <a:ea typeface="Calibri" panose="020F0502020204030204" pitchFamily="34" charset="0"/>
                <a:cs typeface="Calibri" panose="020F0502020204030204" pitchFamily="34" charset="0"/>
              </a:rPr>
              <a:t>The legal system is directly influenced by the new coexisting global orders.</a:t>
            </a:r>
            <a:endParaRPr lang="pt-BR" sz="1600" b="1" dirty="0">
              <a:highlight>
                <a:srgbClr val="FFFF00"/>
              </a:highlight>
              <a:latin typeface="Calibri" panose="020F0502020204030204" pitchFamily="34" charset="0"/>
              <a:ea typeface="Calibri" panose="020F0502020204030204" pitchFamily="34" charset="0"/>
              <a:cs typeface="Calibri" panose="020F0502020204030204" pitchFamily="34" charset="0"/>
            </a:endParaRPr>
          </a:p>
        </p:txBody>
      </p:sp>
      <p:pic>
        <p:nvPicPr>
          <p:cNvPr id="9" name="Imagem 8">
            <a:extLst>
              <a:ext uri="{FF2B5EF4-FFF2-40B4-BE49-F238E27FC236}">
                <a16:creationId xmlns:a16="http://schemas.microsoft.com/office/drawing/2014/main" id="{BB66F3EE-B98D-8419-7DBE-30D149E85D3B}"/>
              </a:ext>
            </a:extLst>
          </p:cNvPr>
          <p:cNvPicPr>
            <a:picLocks noChangeAspect="1"/>
          </p:cNvPicPr>
          <p:nvPr/>
        </p:nvPicPr>
        <p:blipFill>
          <a:blip r:embed="rId5"/>
          <a:stretch>
            <a:fillRect/>
          </a:stretch>
        </p:blipFill>
        <p:spPr>
          <a:xfrm>
            <a:off x="7651579" y="5391953"/>
            <a:ext cx="2596292" cy="1257356"/>
          </a:xfrm>
          <a:prstGeom prst="rect">
            <a:avLst/>
          </a:prstGeom>
        </p:spPr>
      </p:pic>
      <p:sp>
        <p:nvSpPr>
          <p:cNvPr id="7" name="Elipse 6">
            <a:extLst>
              <a:ext uri="{FF2B5EF4-FFF2-40B4-BE49-F238E27FC236}">
                <a16:creationId xmlns:a16="http://schemas.microsoft.com/office/drawing/2014/main" id="{13FD54E0-77D8-C5A8-657D-5A6B87F3BB90}"/>
              </a:ext>
            </a:extLst>
          </p:cNvPr>
          <p:cNvSpPr/>
          <p:nvPr/>
        </p:nvSpPr>
        <p:spPr>
          <a:xfrm>
            <a:off x="11685200" y="6374990"/>
            <a:ext cx="398310" cy="398207"/>
          </a:xfrm>
          <a:prstGeom prst="ellipse">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800" b="1" dirty="0">
                <a:solidFill>
                  <a:srgbClr val="006199"/>
                </a:solidFill>
              </a:rPr>
              <a:t>P</a:t>
            </a:r>
          </a:p>
        </p:txBody>
      </p:sp>
      <p:sp>
        <p:nvSpPr>
          <p:cNvPr id="8" name="CaixaDeTexto 7">
            <a:extLst>
              <a:ext uri="{FF2B5EF4-FFF2-40B4-BE49-F238E27FC236}">
                <a16:creationId xmlns:a16="http://schemas.microsoft.com/office/drawing/2014/main" id="{FDECCCFC-A2A9-22AC-9440-D950E1D26292}"/>
              </a:ext>
            </a:extLst>
          </p:cNvPr>
          <p:cNvSpPr txBox="1"/>
          <p:nvPr/>
        </p:nvSpPr>
        <p:spPr>
          <a:xfrm>
            <a:off x="222422" y="208691"/>
            <a:ext cx="11615351" cy="830997"/>
          </a:xfrm>
          <a:prstGeom prst="rect">
            <a:avLst/>
          </a:prstGeom>
          <a:noFill/>
        </p:spPr>
        <p:txBody>
          <a:bodyPr wrap="square" rtlCol="0">
            <a:spAutoFit/>
          </a:bodyPr>
          <a:lstStyle/>
          <a:p>
            <a:r>
              <a:rPr lang="en-US" sz="2400" b="1" dirty="0">
                <a:solidFill>
                  <a:srgbClr val="008542"/>
                </a:solidFill>
                <a:latin typeface="Trebuchet MS" panose="020B0603020202020204" pitchFamily="34" charset="0"/>
              </a:rPr>
              <a:t>INTRODUCTION – INTERREGNUM - AND IT'S GETTING HARDER</a:t>
            </a:r>
          </a:p>
          <a:p>
            <a:r>
              <a:rPr lang="en-US" sz="2400" b="1" dirty="0">
                <a:solidFill>
                  <a:srgbClr val="008542"/>
                </a:solidFill>
                <a:latin typeface="Trebuchet MS" panose="020B0603020202020204" pitchFamily="34" charset="0"/>
              </a:rPr>
              <a:t>A WORLD WITHOUT A SINGLE LEADER</a:t>
            </a:r>
            <a:endParaRPr lang="pt-BR" sz="2400" b="1" dirty="0">
              <a:solidFill>
                <a:srgbClr val="008542"/>
              </a:solidFill>
              <a:latin typeface="Trebuchet MS" panose="020B0603020202020204" pitchFamily="34" charset="0"/>
            </a:endParaRPr>
          </a:p>
        </p:txBody>
      </p:sp>
      <p:sp>
        <p:nvSpPr>
          <p:cNvPr id="12" name="Retângulo 11">
            <a:extLst>
              <a:ext uri="{FF2B5EF4-FFF2-40B4-BE49-F238E27FC236}">
                <a16:creationId xmlns:a16="http://schemas.microsoft.com/office/drawing/2014/main" id="{FA0916CE-C1B2-35A4-D4BE-DDFA16D560AF}"/>
              </a:ext>
            </a:extLst>
          </p:cNvPr>
          <p:cNvSpPr/>
          <p:nvPr/>
        </p:nvSpPr>
        <p:spPr>
          <a:xfrm>
            <a:off x="261979" y="696913"/>
            <a:ext cx="420421" cy="41563"/>
          </a:xfrm>
          <a:prstGeom prst="rect">
            <a:avLst/>
          </a:prstGeom>
          <a:solidFill>
            <a:srgbClr val="FDC6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Trebuchet MS" panose="020B0703020202090204" pitchFamily="34" charset="0"/>
              <a:ea typeface="+mn-ea"/>
              <a:cs typeface="+mn-cs"/>
            </a:endParaRPr>
          </a:p>
        </p:txBody>
      </p:sp>
      <p:sp>
        <p:nvSpPr>
          <p:cNvPr id="27" name="CaixaDeTexto 26">
            <a:extLst>
              <a:ext uri="{FF2B5EF4-FFF2-40B4-BE49-F238E27FC236}">
                <a16:creationId xmlns:a16="http://schemas.microsoft.com/office/drawing/2014/main" id="{59140FCE-1E80-7E42-5AC7-456D2345A60F}"/>
              </a:ext>
            </a:extLst>
          </p:cNvPr>
          <p:cNvSpPr txBox="1"/>
          <p:nvPr/>
        </p:nvSpPr>
        <p:spPr>
          <a:xfrm>
            <a:off x="231466" y="5093501"/>
            <a:ext cx="6625645" cy="369332"/>
          </a:xfrm>
          <a:prstGeom prst="rect">
            <a:avLst/>
          </a:prstGeom>
          <a:noFill/>
        </p:spPr>
        <p:txBody>
          <a:bodyPr wrap="square">
            <a:spAutoFit/>
          </a:bodyPr>
          <a:lstStyle/>
          <a:p>
            <a:pPr algn="ctr"/>
            <a:r>
              <a:rPr lang="en-US" sz="1800" b="1" u="sng" dirty="0"/>
              <a:t>WHAT IS THE BEST COURSE ?</a:t>
            </a:r>
          </a:p>
        </p:txBody>
      </p:sp>
    </p:spTree>
    <p:extLst>
      <p:ext uri="{BB962C8B-B14F-4D97-AF65-F5344CB8AC3E}">
        <p14:creationId xmlns:p14="http://schemas.microsoft.com/office/powerpoint/2010/main" val="3489595461"/>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B7FE9B-CADB-DC6A-9EA7-AB48C2CA2814}"/>
            </a:ext>
          </a:extLst>
        </p:cNvPr>
        <p:cNvGrpSpPr/>
        <p:nvPr/>
      </p:nvGrpSpPr>
      <p:grpSpPr>
        <a:xfrm>
          <a:off x="0" y="0"/>
          <a:ext cx="0" cy="0"/>
          <a:chOff x="0" y="0"/>
          <a:chExt cx="0" cy="0"/>
        </a:xfrm>
      </p:grpSpPr>
      <p:sp>
        <p:nvSpPr>
          <p:cNvPr id="18" name="Retângulo 17">
            <a:extLst>
              <a:ext uri="{FF2B5EF4-FFF2-40B4-BE49-F238E27FC236}">
                <a16:creationId xmlns:a16="http://schemas.microsoft.com/office/drawing/2014/main" id="{9EDFBBF0-E27C-A6E0-36CD-0A11A9C966B3}"/>
              </a:ext>
            </a:extLst>
          </p:cNvPr>
          <p:cNvSpPr/>
          <p:nvPr/>
        </p:nvSpPr>
        <p:spPr>
          <a:xfrm>
            <a:off x="354226" y="1148625"/>
            <a:ext cx="11252887" cy="4964197"/>
          </a:xfrm>
          <a:prstGeom prst="rect">
            <a:avLst/>
          </a:prstGeom>
          <a:solidFill>
            <a:srgbClr val="006A87"/>
          </a:solidFill>
          <a:ln>
            <a:solidFill>
              <a:srgbClr val="006A8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indent="0" algn="ctr" defTabSz="1218832" rtl="0" eaLnBrk="1" fontAlgn="auto" latinLnBrk="0" hangingPunct="1">
              <a:lnSpc>
                <a:spcPct val="100000"/>
              </a:lnSpc>
              <a:spcBef>
                <a:spcPts val="0"/>
              </a:spcBef>
              <a:spcAft>
                <a:spcPts val="0"/>
              </a:spcAft>
              <a:buClrTx/>
              <a:buSzTx/>
              <a:buFontTx/>
              <a:buNone/>
              <a:tabLst/>
            </a:pPr>
            <a:endParaRPr kumimoji="0" lang="pt-BR" sz="2400" b="0" i="0" u="none" strike="noStrike" kern="1200" cap="none" spc="0" normalizeH="0" baseline="0" noProof="0">
              <a:ln>
                <a:noFill/>
              </a:ln>
              <a:solidFill>
                <a:prstClr val="white"/>
              </a:solidFill>
              <a:effectLst/>
              <a:uLnTx/>
              <a:uFillTx/>
              <a:latin typeface="Calibri"/>
              <a:ea typeface="+mn-ea"/>
              <a:cs typeface="+mn-cs"/>
            </a:endParaRPr>
          </a:p>
        </p:txBody>
      </p:sp>
      <p:pic>
        <p:nvPicPr>
          <p:cNvPr id="4" name="Imagem 3" descr="Texto&#10;&#10;O conteúdo gerado por IA pode estar incorreto.">
            <a:extLst>
              <a:ext uri="{FF2B5EF4-FFF2-40B4-BE49-F238E27FC236}">
                <a16:creationId xmlns:a16="http://schemas.microsoft.com/office/drawing/2014/main" id="{3B2EAF07-CEBF-72CC-45E0-8D1D02AF55B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1569" y="6224288"/>
            <a:ext cx="1775743" cy="425021"/>
          </a:xfrm>
          <a:prstGeom prst="rect">
            <a:avLst/>
          </a:prstGeom>
        </p:spPr>
      </p:pic>
      <p:pic>
        <p:nvPicPr>
          <p:cNvPr id="3" name="Imagem 2" descr="Uma imagem contendo Forma&#10;&#10;O conteúdo gerado por IA pode estar incorreto.">
            <a:extLst>
              <a:ext uri="{FF2B5EF4-FFF2-40B4-BE49-F238E27FC236}">
                <a16:creationId xmlns:a16="http://schemas.microsoft.com/office/drawing/2014/main" id="{CACF2446-5053-83C4-44E0-B058204F469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63494" y="4475018"/>
            <a:ext cx="1419393" cy="2382982"/>
          </a:xfrm>
          <a:prstGeom prst="rect">
            <a:avLst/>
          </a:prstGeom>
        </p:spPr>
      </p:pic>
      <p:pic>
        <p:nvPicPr>
          <p:cNvPr id="2" name="Imagem 1">
            <a:extLst>
              <a:ext uri="{FF2B5EF4-FFF2-40B4-BE49-F238E27FC236}">
                <a16:creationId xmlns:a16="http://schemas.microsoft.com/office/drawing/2014/main" id="{090639E3-1802-E8EB-8572-1AB38FF21028}"/>
              </a:ext>
            </a:extLst>
          </p:cNvPr>
          <p:cNvPicPr>
            <a:picLocks noChangeAspect="1"/>
          </p:cNvPicPr>
          <p:nvPr/>
        </p:nvPicPr>
        <p:blipFill>
          <a:blip r:embed="rId4"/>
          <a:stretch>
            <a:fillRect/>
          </a:stretch>
        </p:blipFill>
        <p:spPr>
          <a:xfrm rot="21392379">
            <a:off x="590131" y="1530021"/>
            <a:ext cx="10013344" cy="4449148"/>
          </a:xfrm>
          <a:prstGeom prst="rect">
            <a:avLst/>
          </a:prstGeom>
        </p:spPr>
      </p:pic>
      <p:grpSp>
        <p:nvGrpSpPr>
          <p:cNvPr id="5" name="Agrupar 4">
            <a:extLst>
              <a:ext uri="{FF2B5EF4-FFF2-40B4-BE49-F238E27FC236}">
                <a16:creationId xmlns:a16="http://schemas.microsoft.com/office/drawing/2014/main" id="{7618317C-5100-C6F3-26F3-4CF0AFA2E3BB}"/>
              </a:ext>
            </a:extLst>
          </p:cNvPr>
          <p:cNvGrpSpPr/>
          <p:nvPr/>
        </p:nvGrpSpPr>
        <p:grpSpPr>
          <a:xfrm>
            <a:off x="7448737" y="2033975"/>
            <a:ext cx="2606267" cy="2900731"/>
            <a:chOff x="6012864" y="1366353"/>
            <a:chExt cx="2405785" cy="2677597"/>
          </a:xfrm>
        </p:grpSpPr>
        <p:sp>
          <p:nvSpPr>
            <p:cNvPr id="6" name="Retângulo 5">
              <a:extLst>
                <a:ext uri="{FF2B5EF4-FFF2-40B4-BE49-F238E27FC236}">
                  <a16:creationId xmlns:a16="http://schemas.microsoft.com/office/drawing/2014/main" id="{D31684C1-50D2-ADF5-0B30-C7065B422DC1}"/>
                </a:ext>
              </a:extLst>
            </p:cNvPr>
            <p:cNvSpPr/>
            <p:nvPr/>
          </p:nvSpPr>
          <p:spPr>
            <a:xfrm>
              <a:off x="6012864" y="1904194"/>
              <a:ext cx="2405785" cy="2139756"/>
            </a:xfrm>
            <a:prstGeom prst="rect">
              <a:avLst/>
            </a:prstGeom>
          </p:spPr>
          <p:txBody>
            <a:bodyPr wrap="square">
              <a:spAutoFit/>
            </a:bodyPr>
            <a:lstStyle/>
            <a:p>
              <a:pPr marL="0" lvl="1" defTabSz="990272">
                <a:defRPr/>
              </a:pPr>
              <a:r>
                <a:rPr lang="pt-BR" sz="2167" dirty="0">
                  <a:solidFill>
                    <a:schemeClr val="bg1"/>
                  </a:solidFill>
                  <a:latin typeface="Trebuchet MS" panose="020B0703020202090204" pitchFamily="34" charset="0"/>
                </a:rPr>
                <a:t>»</a:t>
              </a:r>
              <a:r>
                <a:rPr lang="pt-BR" sz="1354" dirty="0">
                  <a:solidFill>
                    <a:schemeClr val="bg1"/>
                  </a:solidFill>
                  <a:latin typeface="Trebuchet MS" panose="020B0703020202090204" pitchFamily="34" charset="0"/>
                </a:rPr>
                <a:t> Be </a:t>
              </a:r>
              <a:r>
                <a:rPr lang="pt-BR" sz="1354" dirty="0" err="1">
                  <a:solidFill>
                    <a:schemeClr val="bg1"/>
                  </a:solidFill>
                  <a:latin typeface="Trebuchet MS" panose="020B0703020202090204" pitchFamily="34" charset="0"/>
                </a:rPr>
                <a:t>careful</a:t>
              </a:r>
              <a:r>
                <a:rPr lang="pt-BR" sz="1354" dirty="0">
                  <a:solidFill>
                    <a:schemeClr val="bg1"/>
                  </a:solidFill>
                  <a:latin typeface="Trebuchet MS" panose="020B0703020202090204" pitchFamily="34" charset="0"/>
                </a:rPr>
                <a:t> </a:t>
              </a:r>
              <a:r>
                <a:rPr lang="pt-BR" sz="1354" dirty="0" err="1">
                  <a:solidFill>
                    <a:schemeClr val="bg1"/>
                  </a:solidFill>
                  <a:latin typeface="Trebuchet MS" panose="020B0703020202090204" pitchFamily="34" charset="0"/>
                </a:rPr>
                <a:t>with</a:t>
              </a:r>
              <a:r>
                <a:rPr lang="pt-BR" sz="1354" dirty="0">
                  <a:solidFill>
                    <a:schemeClr val="bg1"/>
                  </a:solidFill>
                  <a:latin typeface="Trebuchet MS" panose="020B0703020202090204" pitchFamily="34" charset="0"/>
                </a:rPr>
                <a:t> </a:t>
              </a:r>
              <a:r>
                <a:rPr lang="pt-BR" sz="1354" dirty="0" err="1">
                  <a:solidFill>
                    <a:schemeClr val="bg1"/>
                  </a:solidFill>
                  <a:latin typeface="Trebuchet MS" panose="020B0703020202090204" pitchFamily="34" charset="0"/>
                </a:rPr>
                <a:t>people</a:t>
              </a:r>
              <a:r>
                <a:rPr lang="pt-BR" sz="1354" dirty="0">
                  <a:solidFill>
                    <a:schemeClr val="bg1"/>
                  </a:solidFill>
                  <a:latin typeface="Trebuchet MS" panose="020B0703020202090204" pitchFamily="34" charset="0"/>
                </a:rPr>
                <a:t>.</a:t>
              </a:r>
            </a:p>
            <a:p>
              <a:pPr marL="0" lvl="1" defTabSz="990272">
                <a:defRPr/>
              </a:pPr>
              <a:endParaRPr lang="pt-BR" sz="650" dirty="0">
                <a:solidFill>
                  <a:schemeClr val="bg1"/>
                </a:solidFill>
                <a:latin typeface="Trebuchet MS" panose="020B0703020202090204" pitchFamily="34" charset="0"/>
              </a:endParaRPr>
            </a:p>
            <a:p>
              <a:pPr marL="0" lvl="1" defTabSz="742928">
                <a:defRPr/>
              </a:pPr>
              <a:r>
                <a:rPr lang="pt-BR" sz="2167" dirty="0">
                  <a:solidFill>
                    <a:schemeClr val="bg1"/>
                  </a:solidFill>
                  <a:latin typeface="Trebuchet MS" panose="020B0703020202090204" pitchFamily="34" charset="0"/>
                </a:rPr>
                <a:t>»</a:t>
              </a:r>
              <a:r>
                <a:rPr lang="pt-BR" sz="1192" dirty="0">
                  <a:solidFill>
                    <a:schemeClr val="bg1"/>
                  </a:solidFill>
                  <a:latin typeface="Trebuchet MS" panose="020B0703020202090204" pitchFamily="34" charset="0"/>
                </a:rPr>
                <a:t> </a:t>
              </a:r>
              <a:r>
                <a:rPr lang="en-US" sz="1354" dirty="0">
                  <a:solidFill>
                    <a:schemeClr val="bg1"/>
                  </a:solidFill>
                  <a:latin typeface="Trebuchet MS" panose="020B0703020202090204" pitchFamily="34" charset="0"/>
                </a:rPr>
                <a:t>Integrity</a:t>
              </a:r>
            </a:p>
            <a:p>
              <a:pPr marL="0" lvl="1" defTabSz="742928">
                <a:defRPr/>
              </a:pPr>
              <a:endParaRPr lang="en-US" sz="1354" dirty="0">
                <a:solidFill>
                  <a:schemeClr val="bg1"/>
                </a:solidFill>
                <a:latin typeface="Trebuchet MS" panose="020B0703020202090204" pitchFamily="34" charset="0"/>
              </a:endParaRPr>
            </a:p>
            <a:p>
              <a:pPr marL="0" lvl="1" defTabSz="742928">
                <a:defRPr/>
              </a:pPr>
              <a:r>
                <a:rPr lang="en-US" sz="1354" dirty="0">
                  <a:solidFill>
                    <a:schemeClr val="bg1"/>
                  </a:solidFill>
                  <a:latin typeface="Trebuchet MS" panose="020B0703020202090204" pitchFamily="34" charset="0"/>
                </a:rPr>
                <a:t>» Sustainability</a:t>
              </a:r>
            </a:p>
            <a:p>
              <a:pPr marL="0" lvl="1" defTabSz="742928">
                <a:defRPr/>
              </a:pPr>
              <a:endParaRPr lang="en-US" sz="1354" dirty="0">
                <a:solidFill>
                  <a:schemeClr val="bg1"/>
                </a:solidFill>
                <a:latin typeface="Trebuchet MS" panose="020B0703020202090204" pitchFamily="34" charset="0"/>
              </a:endParaRPr>
            </a:p>
            <a:p>
              <a:pPr marL="0" lvl="1" defTabSz="742928">
                <a:defRPr/>
              </a:pPr>
              <a:r>
                <a:rPr lang="en-US" sz="1354" dirty="0">
                  <a:solidFill>
                    <a:schemeClr val="bg1"/>
                  </a:solidFill>
                  <a:latin typeface="Trebuchet MS" panose="020B0703020202090204" pitchFamily="34" charset="0"/>
                </a:rPr>
                <a:t>» Innovation</a:t>
              </a:r>
            </a:p>
            <a:p>
              <a:pPr marL="0" lvl="1" defTabSz="742928">
                <a:defRPr/>
              </a:pPr>
              <a:endParaRPr lang="en-US" sz="1354" dirty="0">
                <a:solidFill>
                  <a:schemeClr val="bg1"/>
                </a:solidFill>
                <a:latin typeface="Trebuchet MS" panose="020B0703020202090204" pitchFamily="34" charset="0"/>
              </a:endParaRPr>
            </a:p>
            <a:p>
              <a:pPr marL="0" lvl="1" defTabSz="742928">
                <a:defRPr/>
              </a:pPr>
              <a:r>
                <a:rPr lang="en-US" sz="1354" dirty="0">
                  <a:solidFill>
                    <a:schemeClr val="bg1"/>
                  </a:solidFill>
                  <a:latin typeface="Trebuchet MS" panose="020B0703020202090204" pitchFamily="34" charset="0"/>
                </a:rPr>
                <a:t>» Commitment to </a:t>
              </a:r>
              <a:r>
                <a:rPr lang="en-US" sz="1354" dirty="0" err="1">
                  <a:solidFill>
                    <a:schemeClr val="bg1"/>
                  </a:solidFill>
                  <a:latin typeface="Trebuchet MS" panose="020B0703020202090204" pitchFamily="34" charset="0"/>
                </a:rPr>
                <a:t>Transpetro</a:t>
              </a:r>
              <a:r>
                <a:rPr lang="en-US" sz="1354" dirty="0">
                  <a:solidFill>
                    <a:schemeClr val="bg1"/>
                  </a:solidFill>
                  <a:latin typeface="Trebuchet MS" panose="020B0703020202090204" pitchFamily="34" charset="0"/>
                </a:rPr>
                <a:t>, Petrobras, and Brazil</a:t>
              </a:r>
              <a:endParaRPr lang="pt-BR" sz="1354" dirty="0">
                <a:solidFill>
                  <a:schemeClr val="bg1"/>
                </a:solidFill>
                <a:latin typeface="Trebuchet MS" panose="020B0703020202090204" pitchFamily="34" charset="0"/>
              </a:endParaRPr>
            </a:p>
          </p:txBody>
        </p:sp>
        <p:sp>
          <p:nvSpPr>
            <p:cNvPr id="9" name="CaixaDeTexto 8">
              <a:extLst>
                <a:ext uri="{FF2B5EF4-FFF2-40B4-BE49-F238E27FC236}">
                  <a16:creationId xmlns:a16="http://schemas.microsoft.com/office/drawing/2014/main" id="{9DC010C7-2646-BAC0-7E46-C4F0280E5553}"/>
                </a:ext>
              </a:extLst>
            </p:cNvPr>
            <p:cNvSpPr txBox="1"/>
            <p:nvPr/>
          </p:nvSpPr>
          <p:spPr>
            <a:xfrm>
              <a:off x="6554486" y="1366353"/>
              <a:ext cx="1169220" cy="300734"/>
            </a:xfrm>
            <a:prstGeom prst="rect">
              <a:avLst/>
            </a:prstGeom>
            <a:noFill/>
          </p:spPr>
          <p:txBody>
            <a:bodyPr wrap="square" rtlCol="0">
              <a:spAutoFit/>
            </a:bodyPr>
            <a:lstStyle/>
            <a:p>
              <a:pPr defTabSz="742928"/>
              <a:r>
                <a:rPr lang="pt-BR" sz="1517" dirty="0">
                  <a:solidFill>
                    <a:srgbClr val="FFC000"/>
                  </a:solidFill>
                  <a:latin typeface="Trebuchet MS" panose="020B0703020202090204" pitchFamily="34" charset="0"/>
                </a:rPr>
                <a:t>VALORES</a:t>
              </a:r>
            </a:p>
          </p:txBody>
        </p:sp>
      </p:grpSp>
      <p:grpSp>
        <p:nvGrpSpPr>
          <p:cNvPr id="10" name="Agrupar 9">
            <a:extLst>
              <a:ext uri="{FF2B5EF4-FFF2-40B4-BE49-F238E27FC236}">
                <a16:creationId xmlns:a16="http://schemas.microsoft.com/office/drawing/2014/main" id="{6A645EED-2056-B50E-CD99-83A3FF1C22A2}"/>
              </a:ext>
            </a:extLst>
          </p:cNvPr>
          <p:cNvGrpSpPr/>
          <p:nvPr/>
        </p:nvGrpSpPr>
        <p:grpSpPr>
          <a:xfrm>
            <a:off x="1342001" y="2686874"/>
            <a:ext cx="2853949" cy="1902052"/>
            <a:chOff x="516242" y="1631845"/>
            <a:chExt cx="2407581" cy="1945607"/>
          </a:xfrm>
        </p:grpSpPr>
        <p:sp>
          <p:nvSpPr>
            <p:cNvPr id="11" name="Retângulo 10">
              <a:extLst>
                <a:ext uri="{FF2B5EF4-FFF2-40B4-BE49-F238E27FC236}">
                  <a16:creationId xmlns:a16="http://schemas.microsoft.com/office/drawing/2014/main" id="{61A59699-99B9-8FA0-357C-D020ACE057CE}"/>
                </a:ext>
              </a:extLst>
            </p:cNvPr>
            <p:cNvSpPr/>
            <p:nvPr/>
          </p:nvSpPr>
          <p:spPr>
            <a:xfrm>
              <a:off x="516242" y="2178385"/>
              <a:ext cx="2407581" cy="1399067"/>
            </a:xfrm>
            <a:prstGeom prst="rect">
              <a:avLst/>
            </a:prstGeom>
          </p:spPr>
          <p:txBody>
            <a:bodyPr wrap="square">
              <a:spAutoFit/>
            </a:bodyPr>
            <a:lstStyle/>
            <a:p>
              <a:pPr defTabSz="742928"/>
              <a:r>
                <a:rPr lang="en-US" sz="1354" dirty="0">
                  <a:solidFill>
                    <a:schemeClr val="bg1"/>
                  </a:solidFill>
                  <a:latin typeface="Trebuchet MS" panose="020B0703020202090204" pitchFamily="34" charset="0"/>
                </a:rPr>
                <a:t>To provide logistical solutions for the oil, gas, and low-carbon products segment, contributing to human and social development in an ethical, fair, safe, and competitive manner.</a:t>
              </a:r>
              <a:endParaRPr lang="pt-BR" sz="1517" dirty="0">
                <a:solidFill>
                  <a:schemeClr val="bg1"/>
                </a:solidFill>
                <a:latin typeface="Trebuchet MS" panose="020B0603020202020204" pitchFamily="34" charset="0"/>
              </a:endParaRPr>
            </a:p>
          </p:txBody>
        </p:sp>
        <p:sp>
          <p:nvSpPr>
            <p:cNvPr id="12" name="CaixaDeTexto 11">
              <a:extLst>
                <a:ext uri="{FF2B5EF4-FFF2-40B4-BE49-F238E27FC236}">
                  <a16:creationId xmlns:a16="http://schemas.microsoft.com/office/drawing/2014/main" id="{68A292EF-1832-CFCD-C08C-0DD9BA90D2E2}"/>
                </a:ext>
              </a:extLst>
            </p:cNvPr>
            <p:cNvSpPr txBox="1"/>
            <p:nvPr/>
          </p:nvSpPr>
          <p:spPr>
            <a:xfrm>
              <a:off x="1107641" y="1631845"/>
              <a:ext cx="1630018" cy="333255"/>
            </a:xfrm>
            <a:prstGeom prst="rect">
              <a:avLst/>
            </a:prstGeom>
            <a:noFill/>
          </p:spPr>
          <p:txBody>
            <a:bodyPr wrap="square" rtlCol="0">
              <a:spAutoFit/>
            </a:bodyPr>
            <a:lstStyle/>
            <a:p>
              <a:pPr defTabSz="742928"/>
              <a:r>
                <a:rPr lang="pt-BR" sz="1517" dirty="0">
                  <a:solidFill>
                    <a:srgbClr val="FFC000"/>
                  </a:solidFill>
                  <a:latin typeface="Trebuchet MS" panose="020B0703020202090204" pitchFamily="34" charset="0"/>
                </a:rPr>
                <a:t>PURPOSE</a:t>
              </a:r>
            </a:p>
          </p:txBody>
        </p:sp>
      </p:grpSp>
      <p:grpSp>
        <p:nvGrpSpPr>
          <p:cNvPr id="13" name="Agrupar 12">
            <a:extLst>
              <a:ext uri="{FF2B5EF4-FFF2-40B4-BE49-F238E27FC236}">
                <a16:creationId xmlns:a16="http://schemas.microsoft.com/office/drawing/2014/main" id="{23E83D2D-2C0C-3E46-1BDD-1E20B195E217}"/>
              </a:ext>
            </a:extLst>
          </p:cNvPr>
          <p:cNvGrpSpPr/>
          <p:nvPr/>
        </p:nvGrpSpPr>
        <p:grpSpPr>
          <a:xfrm>
            <a:off x="4516334" y="2331299"/>
            <a:ext cx="2487133" cy="2710578"/>
            <a:chOff x="3306027" y="1349362"/>
            <a:chExt cx="2295815" cy="2502072"/>
          </a:xfrm>
        </p:grpSpPr>
        <p:sp>
          <p:nvSpPr>
            <p:cNvPr id="14" name="Retângulo 13">
              <a:extLst>
                <a:ext uri="{FF2B5EF4-FFF2-40B4-BE49-F238E27FC236}">
                  <a16:creationId xmlns:a16="http://schemas.microsoft.com/office/drawing/2014/main" id="{6A612024-3B3C-01D6-BB80-F5F4BF6C6AE1}"/>
                </a:ext>
              </a:extLst>
            </p:cNvPr>
            <p:cNvSpPr/>
            <p:nvPr/>
          </p:nvSpPr>
          <p:spPr>
            <a:xfrm>
              <a:off x="3306027" y="2034961"/>
              <a:ext cx="2295815" cy="1816473"/>
            </a:xfrm>
            <a:prstGeom prst="rect">
              <a:avLst/>
            </a:prstGeom>
          </p:spPr>
          <p:txBody>
            <a:bodyPr wrap="square">
              <a:spAutoFit/>
            </a:bodyPr>
            <a:lstStyle/>
            <a:p>
              <a:pPr marL="0" lvl="1" defTabSz="742928">
                <a:defRPr/>
              </a:pPr>
              <a:r>
                <a:rPr lang="en-US" sz="1354" dirty="0">
                  <a:solidFill>
                    <a:schemeClr val="bg1"/>
                  </a:solidFill>
                  <a:latin typeface="Trebuchet MS" panose="020B0703020202090204" pitchFamily="34" charset="0"/>
                </a:rPr>
                <a:t>To be the best logistics company for the oil, gas, and low-carbon products segments in Latin America, integrated with Petrobras, generating value with sustainability, safety, respect for the environment, and total attention to people.</a:t>
              </a:r>
              <a:endParaRPr lang="pt-BR" sz="1354" dirty="0">
                <a:solidFill>
                  <a:schemeClr val="bg1"/>
                </a:solidFill>
                <a:latin typeface="Trebuchet MS" panose="020B0703020202090204" pitchFamily="34" charset="0"/>
              </a:endParaRPr>
            </a:p>
          </p:txBody>
        </p:sp>
        <p:sp>
          <p:nvSpPr>
            <p:cNvPr id="15" name="CaixaDeTexto 14">
              <a:extLst>
                <a:ext uri="{FF2B5EF4-FFF2-40B4-BE49-F238E27FC236}">
                  <a16:creationId xmlns:a16="http://schemas.microsoft.com/office/drawing/2014/main" id="{667E580B-D3D5-5445-05ED-928112737221}"/>
                </a:ext>
              </a:extLst>
            </p:cNvPr>
            <p:cNvSpPr txBox="1"/>
            <p:nvPr/>
          </p:nvSpPr>
          <p:spPr>
            <a:xfrm>
              <a:off x="3969685" y="1349362"/>
              <a:ext cx="824948" cy="300734"/>
            </a:xfrm>
            <a:prstGeom prst="rect">
              <a:avLst/>
            </a:prstGeom>
            <a:noFill/>
          </p:spPr>
          <p:txBody>
            <a:bodyPr wrap="square" rtlCol="0">
              <a:spAutoFit/>
            </a:bodyPr>
            <a:lstStyle/>
            <a:p>
              <a:pPr defTabSz="742928"/>
              <a:r>
                <a:rPr lang="pt-BR" sz="1517" dirty="0">
                  <a:solidFill>
                    <a:srgbClr val="FFC000"/>
                  </a:solidFill>
                  <a:latin typeface="Trebuchet MS" panose="020B0703020202090204" pitchFamily="34" charset="0"/>
                </a:rPr>
                <a:t>VISION</a:t>
              </a:r>
            </a:p>
          </p:txBody>
        </p:sp>
      </p:grpSp>
      <p:pic>
        <p:nvPicPr>
          <p:cNvPr id="19" name="Imagem 18">
            <a:extLst>
              <a:ext uri="{FF2B5EF4-FFF2-40B4-BE49-F238E27FC236}">
                <a16:creationId xmlns:a16="http://schemas.microsoft.com/office/drawing/2014/main" id="{0B7B68E4-2536-62E0-9160-21C73043EEAD}"/>
              </a:ext>
            </a:extLst>
          </p:cNvPr>
          <p:cNvPicPr>
            <a:picLocks noChangeAspect="1"/>
          </p:cNvPicPr>
          <p:nvPr/>
        </p:nvPicPr>
        <p:blipFill>
          <a:blip r:embed="rId5"/>
          <a:stretch>
            <a:fillRect/>
          </a:stretch>
        </p:blipFill>
        <p:spPr>
          <a:xfrm>
            <a:off x="7394219" y="1854698"/>
            <a:ext cx="646269" cy="711991"/>
          </a:xfrm>
          <a:prstGeom prst="rect">
            <a:avLst/>
          </a:prstGeom>
        </p:spPr>
      </p:pic>
      <p:pic>
        <p:nvPicPr>
          <p:cNvPr id="20" name="Imagem 19">
            <a:extLst>
              <a:ext uri="{FF2B5EF4-FFF2-40B4-BE49-F238E27FC236}">
                <a16:creationId xmlns:a16="http://schemas.microsoft.com/office/drawing/2014/main" id="{13C5F47A-69A9-B067-AB46-98E0C54F7D0E}"/>
              </a:ext>
            </a:extLst>
          </p:cNvPr>
          <p:cNvPicPr>
            <a:picLocks noChangeAspect="1"/>
          </p:cNvPicPr>
          <p:nvPr/>
        </p:nvPicPr>
        <p:blipFill>
          <a:blip r:embed="rId6"/>
          <a:stretch>
            <a:fillRect/>
          </a:stretch>
        </p:blipFill>
        <p:spPr>
          <a:xfrm>
            <a:off x="1382728" y="2553069"/>
            <a:ext cx="615598" cy="615598"/>
          </a:xfrm>
          <a:prstGeom prst="rect">
            <a:avLst/>
          </a:prstGeom>
        </p:spPr>
      </p:pic>
      <p:pic>
        <p:nvPicPr>
          <p:cNvPr id="21" name="Imagem 20">
            <a:extLst>
              <a:ext uri="{FF2B5EF4-FFF2-40B4-BE49-F238E27FC236}">
                <a16:creationId xmlns:a16="http://schemas.microsoft.com/office/drawing/2014/main" id="{037BC8DA-09AC-73A5-03F3-3B53ED95E138}"/>
              </a:ext>
            </a:extLst>
          </p:cNvPr>
          <p:cNvPicPr>
            <a:picLocks noChangeAspect="1"/>
          </p:cNvPicPr>
          <p:nvPr/>
        </p:nvPicPr>
        <p:blipFill>
          <a:blip r:embed="rId7"/>
          <a:stretch>
            <a:fillRect/>
          </a:stretch>
        </p:blipFill>
        <p:spPr>
          <a:xfrm>
            <a:off x="4527679" y="2249621"/>
            <a:ext cx="711991" cy="711991"/>
          </a:xfrm>
          <a:prstGeom prst="rect">
            <a:avLst/>
          </a:prstGeom>
        </p:spPr>
      </p:pic>
      <p:sp>
        <p:nvSpPr>
          <p:cNvPr id="22" name="Quadro 21">
            <a:extLst>
              <a:ext uri="{FF2B5EF4-FFF2-40B4-BE49-F238E27FC236}">
                <a16:creationId xmlns:a16="http://schemas.microsoft.com/office/drawing/2014/main" id="{101D6AAD-2021-FACA-0C8F-3A711BF39D26}"/>
              </a:ext>
            </a:extLst>
          </p:cNvPr>
          <p:cNvSpPr/>
          <p:nvPr/>
        </p:nvSpPr>
        <p:spPr>
          <a:xfrm>
            <a:off x="7394219" y="2616636"/>
            <a:ext cx="2487133" cy="552031"/>
          </a:xfrm>
          <a:prstGeom prst="frame">
            <a:avLst/>
          </a:prstGeom>
          <a:solidFill>
            <a:srgbClr val="FFC000"/>
          </a:solidFill>
          <a:ln>
            <a:solidFill>
              <a:srgbClr val="ED8B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indent="0" algn="ctr" defTabSz="1218832" rtl="0" eaLnBrk="1" fontAlgn="auto" latinLnBrk="0" hangingPunct="1">
              <a:lnSpc>
                <a:spcPct val="100000"/>
              </a:lnSpc>
              <a:spcBef>
                <a:spcPts val="0"/>
              </a:spcBef>
              <a:spcAft>
                <a:spcPts val="0"/>
              </a:spcAft>
              <a:buClrTx/>
              <a:buSzTx/>
              <a:buFontTx/>
              <a:buNone/>
              <a:tabLst/>
            </a:pPr>
            <a:endParaRPr kumimoji="0" lang="pt-BR" sz="2400" b="0" i="0" u="none" strike="noStrike" kern="1200" cap="none" spc="0" normalizeH="0" baseline="0" noProof="0">
              <a:ln>
                <a:noFill/>
              </a:ln>
              <a:solidFill>
                <a:prstClr val="white"/>
              </a:solidFill>
              <a:effectLst/>
              <a:uLnTx/>
              <a:uFillTx/>
              <a:latin typeface="Calibri"/>
              <a:ea typeface="+mn-ea"/>
              <a:cs typeface="+mn-cs"/>
            </a:endParaRPr>
          </a:p>
        </p:txBody>
      </p:sp>
      <p:sp>
        <p:nvSpPr>
          <p:cNvPr id="23" name="Quadro 22">
            <a:extLst>
              <a:ext uri="{FF2B5EF4-FFF2-40B4-BE49-F238E27FC236}">
                <a16:creationId xmlns:a16="http://schemas.microsoft.com/office/drawing/2014/main" id="{BA2798F3-397A-5D35-0A34-13DCE35758D4}"/>
              </a:ext>
            </a:extLst>
          </p:cNvPr>
          <p:cNvSpPr/>
          <p:nvPr/>
        </p:nvSpPr>
        <p:spPr>
          <a:xfrm>
            <a:off x="7323851" y="4353148"/>
            <a:ext cx="2731153" cy="890102"/>
          </a:xfrm>
          <a:prstGeom prst="frame">
            <a:avLst/>
          </a:prstGeom>
          <a:solidFill>
            <a:srgbClr val="FFC000"/>
          </a:solidFill>
          <a:ln>
            <a:solidFill>
              <a:srgbClr val="ED8B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indent="0" algn="ctr" defTabSz="1218832" rtl="0" eaLnBrk="1" fontAlgn="auto" latinLnBrk="0" hangingPunct="1">
              <a:lnSpc>
                <a:spcPct val="100000"/>
              </a:lnSpc>
              <a:spcBef>
                <a:spcPts val="0"/>
              </a:spcBef>
              <a:spcAft>
                <a:spcPts val="0"/>
              </a:spcAft>
              <a:buClrTx/>
              <a:buSzTx/>
              <a:buFontTx/>
              <a:buNone/>
              <a:tabLst/>
            </a:pPr>
            <a:endParaRPr kumimoji="0" lang="pt-BR" sz="2400" b="0" i="0" u="none" strike="noStrike" kern="1200" cap="none" spc="0" normalizeH="0" baseline="0" noProof="0">
              <a:ln>
                <a:noFill/>
              </a:ln>
              <a:solidFill>
                <a:prstClr val="white"/>
              </a:solidFill>
              <a:effectLst/>
              <a:uLnTx/>
              <a:uFillTx/>
              <a:latin typeface="Calibri"/>
              <a:ea typeface="+mn-ea"/>
              <a:cs typeface="+mn-cs"/>
            </a:endParaRPr>
          </a:p>
        </p:txBody>
      </p:sp>
      <p:sp>
        <p:nvSpPr>
          <p:cNvPr id="16" name="Elipse 15">
            <a:extLst>
              <a:ext uri="{FF2B5EF4-FFF2-40B4-BE49-F238E27FC236}">
                <a16:creationId xmlns:a16="http://schemas.microsoft.com/office/drawing/2014/main" id="{5362AAEA-331B-99DB-910B-866FAD16A04D}"/>
              </a:ext>
            </a:extLst>
          </p:cNvPr>
          <p:cNvSpPr/>
          <p:nvPr/>
        </p:nvSpPr>
        <p:spPr>
          <a:xfrm>
            <a:off x="11685200" y="6374990"/>
            <a:ext cx="398310" cy="398207"/>
          </a:xfrm>
          <a:prstGeom prst="ellipse">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800" b="1" dirty="0">
                <a:solidFill>
                  <a:srgbClr val="006199"/>
                </a:solidFill>
              </a:rPr>
              <a:t>P</a:t>
            </a:r>
          </a:p>
        </p:txBody>
      </p:sp>
      <p:sp>
        <p:nvSpPr>
          <p:cNvPr id="17" name="Quadro 16">
            <a:extLst>
              <a:ext uri="{FF2B5EF4-FFF2-40B4-BE49-F238E27FC236}">
                <a16:creationId xmlns:a16="http://schemas.microsoft.com/office/drawing/2014/main" id="{AF8CF8FD-4C14-7A20-1444-5BC035327565}"/>
              </a:ext>
            </a:extLst>
          </p:cNvPr>
          <p:cNvSpPr/>
          <p:nvPr/>
        </p:nvSpPr>
        <p:spPr>
          <a:xfrm>
            <a:off x="7272208" y="3523383"/>
            <a:ext cx="2249267" cy="552031"/>
          </a:xfrm>
          <a:prstGeom prst="frame">
            <a:avLst/>
          </a:prstGeom>
          <a:solidFill>
            <a:srgbClr val="FFC000"/>
          </a:solidFill>
          <a:ln>
            <a:solidFill>
              <a:srgbClr val="ED8B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indent="0" algn="ctr" defTabSz="1218832" rtl="0" eaLnBrk="1" fontAlgn="auto" latinLnBrk="0" hangingPunct="1">
              <a:lnSpc>
                <a:spcPct val="100000"/>
              </a:lnSpc>
              <a:spcBef>
                <a:spcPts val="0"/>
              </a:spcBef>
              <a:spcAft>
                <a:spcPts val="0"/>
              </a:spcAft>
              <a:buClrTx/>
              <a:buSzTx/>
              <a:buFontTx/>
              <a:buNone/>
              <a:tabLst/>
            </a:pPr>
            <a:endParaRPr kumimoji="0" lang="pt-BR" sz="2400" b="0" i="0" u="none" strike="noStrike" kern="1200" cap="none" spc="0" normalizeH="0" baseline="0" noProof="0">
              <a:ln>
                <a:noFill/>
              </a:ln>
              <a:solidFill>
                <a:prstClr val="white"/>
              </a:solidFill>
              <a:effectLst/>
              <a:uLnTx/>
              <a:uFillTx/>
              <a:latin typeface="Calibri"/>
              <a:ea typeface="+mn-ea"/>
              <a:cs typeface="+mn-cs"/>
            </a:endParaRPr>
          </a:p>
        </p:txBody>
      </p:sp>
      <p:sp>
        <p:nvSpPr>
          <p:cNvPr id="24" name="CaixaDeTexto 23">
            <a:extLst>
              <a:ext uri="{FF2B5EF4-FFF2-40B4-BE49-F238E27FC236}">
                <a16:creationId xmlns:a16="http://schemas.microsoft.com/office/drawing/2014/main" id="{9DF0E18E-A32C-DF49-553D-95487A541716}"/>
              </a:ext>
            </a:extLst>
          </p:cNvPr>
          <p:cNvSpPr txBox="1"/>
          <p:nvPr/>
        </p:nvSpPr>
        <p:spPr>
          <a:xfrm>
            <a:off x="336895" y="343109"/>
            <a:ext cx="9091711" cy="461665"/>
          </a:xfrm>
          <a:prstGeom prst="rect">
            <a:avLst/>
          </a:prstGeom>
          <a:noFill/>
        </p:spPr>
        <p:txBody>
          <a:bodyPr wrap="square">
            <a:spAutoFit/>
          </a:bodyPr>
          <a:lstStyle/>
          <a:p>
            <a:pPr defTabSz="1218832">
              <a:defRPr/>
            </a:pPr>
            <a:r>
              <a:rPr lang="en-US" sz="2400" b="1" dirty="0">
                <a:solidFill>
                  <a:srgbClr val="008542"/>
                </a:solidFill>
                <a:latin typeface="Trebuchet MS" panose="020B0703020202090204" pitchFamily="34" charset="0"/>
              </a:rPr>
              <a:t>TRANSPETRO - STRATEGIC DRIVERS</a:t>
            </a:r>
            <a:endParaRPr kumimoji="0" lang="en-US" sz="2400" b="1" i="0" u="none" strike="noStrike" kern="1200" cap="none" spc="0" normalizeH="0" baseline="0" noProof="0" dirty="0">
              <a:ln>
                <a:noFill/>
              </a:ln>
              <a:solidFill>
                <a:srgbClr val="008542"/>
              </a:solidFill>
              <a:effectLst/>
              <a:uLnTx/>
              <a:uFillTx/>
              <a:latin typeface="Trebuchet MS" panose="020B0703020202090204" pitchFamily="34" charset="0"/>
              <a:ea typeface="+mn-ea"/>
              <a:cs typeface="+mn-cs"/>
            </a:endParaRPr>
          </a:p>
        </p:txBody>
      </p:sp>
      <p:sp>
        <p:nvSpPr>
          <p:cNvPr id="25" name="Retângulo 24">
            <a:extLst>
              <a:ext uri="{FF2B5EF4-FFF2-40B4-BE49-F238E27FC236}">
                <a16:creationId xmlns:a16="http://schemas.microsoft.com/office/drawing/2014/main" id="{E35DDBFC-D610-46A8-481D-05B6ADC8C231}"/>
              </a:ext>
            </a:extLst>
          </p:cNvPr>
          <p:cNvSpPr/>
          <p:nvPr/>
        </p:nvSpPr>
        <p:spPr>
          <a:xfrm>
            <a:off x="419378" y="848159"/>
            <a:ext cx="420421" cy="41563"/>
          </a:xfrm>
          <a:prstGeom prst="rect">
            <a:avLst/>
          </a:prstGeom>
          <a:solidFill>
            <a:srgbClr val="FDC6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Trebuchet MS" panose="020B0703020202090204" pitchFamily="34" charset="0"/>
              <a:ea typeface="+mn-ea"/>
              <a:cs typeface="+mn-cs"/>
            </a:endParaRPr>
          </a:p>
        </p:txBody>
      </p:sp>
    </p:spTree>
    <p:extLst>
      <p:ext uri="{BB962C8B-B14F-4D97-AF65-F5344CB8AC3E}">
        <p14:creationId xmlns:p14="http://schemas.microsoft.com/office/powerpoint/2010/main" val="1162878167"/>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30F3E2-5AED-5928-0243-98779854B11C}"/>
            </a:ext>
          </a:extLst>
        </p:cNvPr>
        <p:cNvGrpSpPr/>
        <p:nvPr/>
      </p:nvGrpSpPr>
      <p:grpSpPr>
        <a:xfrm>
          <a:off x="0" y="0"/>
          <a:ext cx="0" cy="0"/>
          <a:chOff x="0" y="0"/>
          <a:chExt cx="0" cy="0"/>
        </a:xfrm>
      </p:grpSpPr>
      <p:pic>
        <p:nvPicPr>
          <p:cNvPr id="4" name="Imagem 3" descr="Texto&#10;&#10;O conteúdo gerado por IA pode estar incorreto.">
            <a:extLst>
              <a:ext uri="{FF2B5EF4-FFF2-40B4-BE49-F238E27FC236}">
                <a16:creationId xmlns:a16="http://schemas.microsoft.com/office/drawing/2014/main" id="{E5581D49-1782-89AA-DA21-4058C13758A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1569" y="6224288"/>
            <a:ext cx="1775743" cy="425021"/>
          </a:xfrm>
          <a:prstGeom prst="rect">
            <a:avLst/>
          </a:prstGeom>
        </p:spPr>
      </p:pic>
      <p:pic>
        <p:nvPicPr>
          <p:cNvPr id="3" name="Imagem 2" descr="Uma imagem contendo Forma&#10;&#10;O conteúdo gerado por IA pode estar incorreto.">
            <a:extLst>
              <a:ext uri="{FF2B5EF4-FFF2-40B4-BE49-F238E27FC236}">
                <a16:creationId xmlns:a16="http://schemas.microsoft.com/office/drawing/2014/main" id="{BC72BC78-E459-FD00-D299-2DC36EB05B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63494" y="4475018"/>
            <a:ext cx="1419393" cy="2382982"/>
          </a:xfrm>
          <a:prstGeom prst="rect">
            <a:avLst/>
          </a:prstGeom>
        </p:spPr>
      </p:pic>
      <p:sp>
        <p:nvSpPr>
          <p:cNvPr id="2" name="CaixaDeTexto 1">
            <a:extLst>
              <a:ext uri="{FF2B5EF4-FFF2-40B4-BE49-F238E27FC236}">
                <a16:creationId xmlns:a16="http://schemas.microsoft.com/office/drawing/2014/main" id="{57339239-4D88-C7BE-896C-4067ADAFF764}"/>
              </a:ext>
            </a:extLst>
          </p:cNvPr>
          <p:cNvSpPr txBox="1"/>
          <p:nvPr/>
        </p:nvSpPr>
        <p:spPr>
          <a:xfrm>
            <a:off x="968014" y="1844029"/>
            <a:ext cx="5401294" cy="1842812"/>
          </a:xfrm>
          <a:prstGeom prst="rect">
            <a:avLst/>
          </a:prstGeom>
          <a:noFill/>
        </p:spPr>
        <p:txBody>
          <a:bodyPr wrap="square">
            <a:spAutoFit/>
          </a:bodyPr>
          <a:lstStyle/>
          <a:p>
            <a:pPr marL="285750" indent="-285750" algn="just" defTabSz="981933">
              <a:buFont typeface="Wingdings" panose="05000000000000000000" pitchFamily="2" charset="2"/>
              <a:buChar char="Ø"/>
              <a:defRPr/>
            </a:pPr>
            <a:r>
              <a:rPr lang="en-US" sz="1625" b="1" dirty="0">
                <a:solidFill>
                  <a:schemeClr val="accent6">
                    <a:lumMod val="50000"/>
                  </a:schemeClr>
                </a:solidFill>
                <a:latin typeface="Trebuchet MS" panose="020B0603020202020204" pitchFamily="34" charset="0"/>
              </a:rPr>
              <a:t>We are the largest logistics company for the oil, gas, and biofuels sectors in Latin America, with 27 years in the market.</a:t>
            </a:r>
          </a:p>
          <a:p>
            <a:pPr marL="285750" indent="-285750" algn="just" defTabSz="981933">
              <a:buFont typeface="Wingdings" panose="05000000000000000000" pitchFamily="2" charset="2"/>
              <a:buChar char="Ø"/>
              <a:defRPr/>
            </a:pPr>
            <a:endParaRPr lang="en-US" sz="1625" b="1" dirty="0">
              <a:solidFill>
                <a:schemeClr val="accent6">
                  <a:lumMod val="50000"/>
                </a:schemeClr>
              </a:solidFill>
              <a:latin typeface="Trebuchet MS" panose="020B0603020202020204" pitchFamily="34" charset="0"/>
            </a:endParaRPr>
          </a:p>
          <a:p>
            <a:pPr marL="285750" indent="-285750" algn="just" defTabSz="981933">
              <a:buFont typeface="Wingdings" panose="05000000000000000000" pitchFamily="2" charset="2"/>
              <a:buChar char="Ø"/>
              <a:defRPr/>
            </a:pPr>
            <a:r>
              <a:rPr lang="en-US" sz="1625" b="1" dirty="0">
                <a:solidFill>
                  <a:schemeClr val="accent6">
                    <a:lumMod val="50000"/>
                  </a:schemeClr>
                </a:solidFill>
                <a:latin typeface="Trebuchet MS" panose="020B0603020202020204" pitchFamily="34" charset="0"/>
              </a:rPr>
              <a:t>As a wholly owned subsidiary of Petrobras, we guarantee excellence and safety in every operation.</a:t>
            </a:r>
            <a:endParaRPr lang="pt-BR" sz="1625" b="1" dirty="0">
              <a:solidFill>
                <a:schemeClr val="accent6">
                  <a:lumMod val="50000"/>
                </a:schemeClr>
              </a:solidFill>
              <a:latin typeface="Trebuchet MS" panose="020B0603020202020204" pitchFamily="34" charset="0"/>
            </a:endParaRPr>
          </a:p>
        </p:txBody>
      </p:sp>
      <p:pic>
        <p:nvPicPr>
          <p:cNvPr id="5" name="Gráfico 4">
            <a:extLst>
              <a:ext uri="{FF2B5EF4-FFF2-40B4-BE49-F238E27FC236}">
                <a16:creationId xmlns:a16="http://schemas.microsoft.com/office/drawing/2014/main" id="{E667D259-33C9-1AD2-CA84-A6FDE0F0F02B}"/>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7644493" y="3172757"/>
            <a:ext cx="617700" cy="414139"/>
          </a:xfrm>
          <a:prstGeom prst="rect">
            <a:avLst/>
          </a:prstGeom>
        </p:spPr>
      </p:pic>
      <p:pic>
        <p:nvPicPr>
          <p:cNvPr id="6" name="Gráfico 5">
            <a:extLst>
              <a:ext uri="{FF2B5EF4-FFF2-40B4-BE49-F238E27FC236}">
                <a16:creationId xmlns:a16="http://schemas.microsoft.com/office/drawing/2014/main" id="{723D17DA-5E08-C8CF-5125-0EB5D024A286}"/>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7812485" y="2470819"/>
            <a:ext cx="420379" cy="506170"/>
          </a:xfrm>
          <a:prstGeom prst="rect">
            <a:avLst/>
          </a:prstGeom>
        </p:spPr>
      </p:pic>
      <p:sp>
        <p:nvSpPr>
          <p:cNvPr id="9" name="object 16">
            <a:extLst>
              <a:ext uri="{FF2B5EF4-FFF2-40B4-BE49-F238E27FC236}">
                <a16:creationId xmlns:a16="http://schemas.microsoft.com/office/drawing/2014/main" id="{37A4F478-8133-35A0-EBA4-8FAA624F5216}"/>
              </a:ext>
            </a:extLst>
          </p:cNvPr>
          <p:cNvSpPr txBox="1"/>
          <p:nvPr/>
        </p:nvSpPr>
        <p:spPr>
          <a:xfrm>
            <a:off x="9302630" y="1830642"/>
            <a:ext cx="1181429" cy="462385"/>
          </a:xfrm>
          <a:prstGeom prst="rect">
            <a:avLst/>
          </a:prstGeom>
        </p:spPr>
        <p:txBody>
          <a:bodyPr vert="horz" wrap="square" lIns="0" tIns="12016" rIns="0" bIns="0" rtlCol="0">
            <a:spAutoFit/>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9781" defTabSz="981933">
              <a:spcBef>
                <a:spcPts val="93"/>
              </a:spcBef>
              <a:defRPr/>
            </a:pPr>
            <a:r>
              <a:rPr lang="pt-BR" sz="1463" b="1" dirty="0">
                <a:solidFill>
                  <a:srgbClr val="008542"/>
                </a:solidFill>
                <a:latin typeface="Trebuchet MS" panose="020B0703020202090204" pitchFamily="34" charset="0"/>
                <a:cs typeface="Trebuchet MS"/>
              </a:rPr>
              <a:t>mil km</a:t>
            </a:r>
            <a:endParaRPr sz="1463" dirty="0">
              <a:solidFill>
                <a:srgbClr val="008542"/>
              </a:solidFill>
              <a:latin typeface="Trebuchet MS" panose="020B0703020202090204" pitchFamily="34" charset="0"/>
              <a:cs typeface="Trebuchet MS"/>
            </a:endParaRPr>
          </a:p>
          <a:p>
            <a:pPr marL="10450" defTabSz="981933">
              <a:defRPr/>
            </a:pPr>
            <a:r>
              <a:rPr lang="pt-BR" sz="1463" b="1" dirty="0" err="1">
                <a:solidFill>
                  <a:srgbClr val="008542"/>
                </a:solidFill>
                <a:latin typeface="Trebuchet MS" panose="020B0703020202090204" pitchFamily="34" charset="0"/>
                <a:cs typeface="Trebuchet MS"/>
              </a:rPr>
              <a:t>Of</a:t>
            </a:r>
            <a:r>
              <a:rPr lang="pt-BR" sz="1463" b="1" dirty="0">
                <a:solidFill>
                  <a:srgbClr val="008542"/>
                </a:solidFill>
                <a:latin typeface="Trebuchet MS" panose="020B0703020202090204" pitchFamily="34" charset="0"/>
                <a:cs typeface="Trebuchet MS"/>
              </a:rPr>
              <a:t> pipelines</a:t>
            </a:r>
            <a:endParaRPr sz="1463" b="1" dirty="0">
              <a:solidFill>
                <a:srgbClr val="008542"/>
              </a:solidFill>
              <a:latin typeface="Trebuchet MS" panose="020B0703020202090204" pitchFamily="34" charset="0"/>
              <a:cs typeface="Trebuchet MS"/>
            </a:endParaRPr>
          </a:p>
        </p:txBody>
      </p:sp>
      <p:sp>
        <p:nvSpPr>
          <p:cNvPr id="10" name="CaixaDeTexto 183">
            <a:extLst>
              <a:ext uri="{FF2B5EF4-FFF2-40B4-BE49-F238E27FC236}">
                <a16:creationId xmlns:a16="http://schemas.microsoft.com/office/drawing/2014/main" id="{0D89F4F6-4B21-A64B-5275-169602B9BA9A}"/>
              </a:ext>
            </a:extLst>
          </p:cNvPr>
          <p:cNvSpPr txBox="1"/>
          <p:nvPr/>
        </p:nvSpPr>
        <p:spPr>
          <a:xfrm>
            <a:off x="8305322" y="1729499"/>
            <a:ext cx="1134811" cy="692497"/>
          </a:xfrm>
          <a:prstGeom prst="rect">
            <a:avLst/>
          </a:prstGeom>
          <a:noFill/>
        </p:spPr>
        <p:txBody>
          <a:bodyPr wrap="square" rtlCol="0">
            <a:spAutoFit/>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81933">
              <a:defRPr/>
            </a:pPr>
            <a:r>
              <a:rPr lang="pt-BR" sz="3900" b="1" spc="-162" dirty="0">
                <a:solidFill>
                  <a:srgbClr val="008542"/>
                </a:solidFill>
                <a:latin typeface="Trebuchet MS" panose="020B0703020202090204" pitchFamily="34" charset="0"/>
              </a:rPr>
              <a:t>8,5</a:t>
            </a:r>
          </a:p>
        </p:txBody>
      </p:sp>
      <p:sp>
        <p:nvSpPr>
          <p:cNvPr id="11" name="CaixaDeTexto 24">
            <a:extLst>
              <a:ext uri="{FF2B5EF4-FFF2-40B4-BE49-F238E27FC236}">
                <a16:creationId xmlns:a16="http://schemas.microsoft.com/office/drawing/2014/main" id="{57D97FC2-359B-ACDD-4952-7A5B48AC9852}"/>
              </a:ext>
            </a:extLst>
          </p:cNvPr>
          <p:cNvSpPr txBox="1"/>
          <p:nvPr/>
        </p:nvSpPr>
        <p:spPr>
          <a:xfrm>
            <a:off x="8353900" y="2415906"/>
            <a:ext cx="1134811" cy="692497"/>
          </a:xfrm>
          <a:prstGeom prst="rect">
            <a:avLst/>
          </a:prstGeom>
          <a:noFill/>
        </p:spPr>
        <p:txBody>
          <a:bodyPr wrap="square" rtlCol="0">
            <a:spAutoFit/>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81933">
              <a:defRPr/>
            </a:pPr>
            <a:r>
              <a:rPr lang="pt-BR" sz="3900" b="1" spc="-162" dirty="0">
                <a:solidFill>
                  <a:srgbClr val="008542"/>
                </a:solidFill>
                <a:latin typeface="Trebuchet MS" panose="020B0703020202090204" pitchFamily="34" charset="0"/>
              </a:rPr>
              <a:t>32</a:t>
            </a:r>
          </a:p>
        </p:txBody>
      </p:sp>
      <p:sp>
        <p:nvSpPr>
          <p:cNvPr id="12" name="object 16">
            <a:extLst>
              <a:ext uri="{FF2B5EF4-FFF2-40B4-BE49-F238E27FC236}">
                <a16:creationId xmlns:a16="http://schemas.microsoft.com/office/drawing/2014/main" id="{F0B3747A-F766-CA18-BBD4-619C65D465D6}"/>
              </a:ext>
            </a:extLst>
          </p:cNvPr>
          <p:cNvSpPr txBox="1"/>
          <p:nvPr/>
        </p:nvSpPr>
        <p:spPr>
          <a:xfrm>
            <a:off x="9266662" y="3271512"/>
            <a:ext cx="895481" cy="237260"/>
          </a:xfrm>
          <a:prstGeom prst="rect">
            <a:avLst/>
          </a:prstGeom>
        </p:spPr>
        <p:txBody>
          <a:bodyPr vert="horz" wrap="square" lIns="0" tIns="12016" rIns="0" bIns="0" rtlCol="0">
            <a:spAutoFit/>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9781" algn="ctr" defTabSz="981933">
              <a:defRPr/>
            </a:pPr>
            <a:r>
              <a:rPr lang="pt-BR" sz="1463" b="1" dirty="0" err="1">
                <a:solidFill>
                  <a:srgbClr val="008542"/>
                </a:solidFill>
                <a:latin typeface="Trebuchet MS" panose="020B0703020202090204" pitchFamily="34" charset="0"/>
                <a:cs typeface="Trebuchet MS"/>
              </a:rPr>
              <a:t>Terminals</a:t>
            </a:r>
            <a:endParaRPr sz="1463" dirty="0">
              <a:solidFill>
                <a:srgbClr val="008542"/>
              </a:solidFill>
              <a:latin typeface="Trebuchet MS" panose="020B0703020202090204" pitchFamily="34" charset="0"/>
              <a:cs typeface="Trebuchet MS"/>
            </a:endParaRPr>
          </a:p>
        </p:txBody>
      </p:sp>
      <p:sp>
        <p:nvSpPr>
          <p:cNvPr id="13" name="CaixaDeTexto 29">
            <a:extLst>
              <a:ext uri="{FF2B5EF4-FFF2-40B4-BE49-F238E27FC236}">
                <a16:creationId xmlns:a16="http://schemas.microsoft.com/office/drawing/2014/main" id="{A9E787BA-BB48-50D0-0684-9951E7E8485F}"/>
              </a:ext>
            </a:extLst>
          </p:cNvPr>
          <p:cNvSpPr txBox="1"/>
          <p:nvPr/>
        </p:nvSpPr>
        <p:spPr>
          <a:xfrm>
            <a:off x="8473564" y="3029460"/>
            <a:ext cx="895481" cy="692497"/>
          </a:xfrm>
          <a:prstGeom prst="rect">
            <a:avLst/>
          </a:prstGeom>
          <a:noFill/>
        </p:spPr>
        <p:txBody>
          <a:bodyPr wrap="square" rtlCol="0">
            <a:spAutoFit/>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81933">
              <a:defRPr/>
            </a:pPr>
            <a:r>
              <a:rPr lang="pt-BR" sz="3900" b="1" spc="-162" dirty="0">
                <a:solidFill>
                  <a:srgbClr val="008542"/>
                </a:solidFill>
                <a:latin typeface="Trebuchet MS" panose="020B0703020202090204" pitchFamily="34" charset="0"/>
              </a:rPr>
              <a:t>48</a:t>
            </a:r>
          </a:p>
        </p:txBody>
      </p:sp>
      <p:sp>
        <p:nvSpPr>
          <p:cNvPr id="14" name="object 16">
            <a:extLst>
              <a:ext uri="{FF2B5EF4-FFF2-40B4-BE49-F238E27FC236}">
                <a16:creationId xmlns:a16="http://schemas.microsoft.com/office/drawing/2014/main" id="{FC5FB7A1-6A67-A1A0-916A-69839F08A376}"/>
              </a:ext>
            </a:extLst>
          </p:cNvPr>
          <p:cNvSpPr txBox="1"/>
          <p:nvPr/>
        </p:nvSpPr>
        <p:spPr>
          <a:xfrm>
            <a:off x="9031854" y="2714925"/>
            <a:ext cx="1108349" cy="237260"/>
          </a:xfrm>
          <a:prstGeom prst="rect">
            <a:avLst/>
          </a:prstGeom>
        </p:spPr>
        <p:txBody>
          <a:bodyPr vert="horz" wrap="square" lIns="0" tIns="12016" rIns="0" bIns="0" rtlCol="0">
            <a:spAutoFit/>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9781" algn="ctr" defTabSz="981933">
              <a:defRPr/>
            </a:pPr>
            <a:r>
              <a:rPr lang="pt-BR" sz="1463" b="1" dirty="0" err="1">
                <a:solidFill>
                  <a:srgbClr val="008542"/>
                </a:solidFill>
                <a:latin typeface="Trebuchet MS" panose="020B0703020202090204" pitchFamily="34" charset="0"/>
                <a:cs typeface="Trebuchet MS"/>
              </a:rPr>
              <a:t>ships</a:t>
            </a:r>
            <a:endParaRPr sz="1463" dirty="0">
              <a:solidFill>
                <a:srgbClr val="008542"/>
              </a:solidFill>
              <a:latin typeface="Trebuchet MS" panose="020B0703020202090204" pitchFamily="34" charset="0"/>
              <a:cs typeface="Trebuchet MS"/>
            </a:endParaRPr>
          </a:p>
        </p:txBody>
      </p:sp>
      <p:pic>
        <p:nvPicPr>
          <p:cNvPr id="15" name="Gráfico 14">
            <a:extLst>
              <a:ext uri="{FF2B5EF4-FFF2-40B4-BE49-F238E27FC236}">
                <a16:creationId xmlns:a16="http://schemas.microsoft.com/office/drawing/2014/main" id="{7115CD97-CE89-B27C-84E5-2A7B520FA772}"/>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rot="5400000">
            <a:off x="7807823" y="1751860"/>
            <a:ext cx="326033" cy="680833"/>
          </a:xfrm>
          <a:prstGeom prst="rect">
            <a:avLst/>
          </a:prstGeom>
        </p:spPr>
      </p:pic>
      <p:sp>
        <p:nvSpPr>
          <p:cNvPr id="16" name="object 16">
            <a:extLst>
              <a:ext uri="{FF2B5EF4-FFF2-40B4-BE49-F238E27FC236}">
                <a16:creationId xmlns:a16="http://schemas.microsoft.com/office/drawing/2014/main" id="{1B1F07ED-324E-9EA1-DABC-15C34F3B9FC6}"/>
              </a:ext>
            </a:extLst>
          </p:cNvPr>
          <p:cNvSpPr txBox="1"/>
          <p:nvPr/>
        </p:nvSpPr>
        <p:spPr>
          <a:xfrm>
            <a:off x="9009096" y="3819609"/>
            <a:ext cx="1243413" cy="548947"/>
          </a:xfrm>
          <a:prstGeom prst="rect">
            <a:avLst/>
          </a:prstGeom>
        </p:spPr>
        <p:txBody>
          <a:bodyPr vert="horz" wrap="square" lIns="0" tIns="12016" rIns="0" bIns="0" rtlCol="0">
            <a:spAutoFit/>
          </a:bodyPr>
          <a:lstStyle/>
          <a:p>
            <a:pPr marL="29781" algn="ctr" defTabSz="981933">
              <a:lnSpc>
                <a:spcPts val="2172"/>
              </a:lnSpc>
              <a:spcBef>
                <a:spcPts val="93"/>
              </a:spcBef>
              <a:defRPr/>
            </a:pPr>
            <a:r>
              <a:rPr lang="pt-BR" sz="1463" b="1" dirty="0">
                <a:solidFill>
                  <a:srgbClr val="008542"/>
                </a:solidFill>
                <a:latin typeface="Trebuchet MS" panose="020B0703020202090204" pitchFamily="34" charset="0"/>
                <a:cs typeface="Trebuchet MS"/>
              </a:rPr>
              <a:t>Private clientes</a:t>
            </a:r>
            <a:endParaRPr sz="1463" dirty="0">
              <a:solidFill>
                <a:srgbClr val="008542"/>
              </a:solidFill>
              <a:latin typeface="Trebuchet MS" panose="020B0703020202090204" pitchFamily="34" charset="0"/>
              <a:cs typeface="Trebuchet MS"/>
            </a:endParaRPr>
          </a:p>
        </p:txBody>
      </p:sp>
      <p:pic>
        <p:nvPicPr>
          <p:cNvPr id="17" name="Gráfico 16">
            <a:extLst>
              <a:ext uri="{FF2B5EF4-FFF2-40B4-BE49-F238E27FC236}">
                <a16:creationId xmlns:a16="http://schemas.microsoft.com/office/drawing/2014/main" id="{4B4A7F34-B7AD-C2B7-24A3-64A4E68087E0}"/>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7647649" y="3891047"/>
            <a:ext cx="506170" cy="506170"/>
          </a:xfrm>
          <a:prstGeom prst="rect">
            <a:avLst/>
          </a:prstGeom>
        </p:spPr>
      </p:pic>
      <p:sp>
        <p:nvSpPr>
          <p:cNvPr id="18" name="CaixaDeTexto 17">
            <a:extLst>
              <a:ext uri="{FF2B5EF4-FFF2-40B4-BE49-F238E27FC236}">
                <a16:creationId xmlns:a16="http://schemas.microsoft.com/office/drawing/2014/main" id="{E3D6B843-1309-4D68-A7C6-09669AC6B8F3}"/>
              </a:ext>
            </a:extLst>
          </p:cNvPr>
          <p:cNvSpPr txBox="1"/>
          <p:nvPr/>
        </p:nvSpPr>
        <p:spPr>
          <a:xfrm>
            <a:off x="8198307" y="3819607"/>
            <a:ext cx="1130637" cy="687432"/>
          </a:xfrm>
          <a:prstGeom prst="rect">
            <a:avLst/>
          </a:prstGeom>
          <a:noFill/>
        </p:spPr>
        <p:txBody>
          <a:bodyPr wrap="square" rtlCol="0">
            <a:spAutoFit/>
          </a:bodyPr>
          <a:lstStyle/>
          <a:p>
            <a:pPr algn="ctr" defTabSz="981933">
              <a:defRPr/>
            </a:pPr>
            <a:r>
              <a:rPr lang="pt-BR" sz="3867" b="1" spc="-162" dirty="0">
                <a:solidFill>
                  <a:srgbClr val="008542"/>
                </a:solidFill>
                <a:latin typeface="Trebuchet MS" panose="020B0703020202090204" pitchFamily="34" charset="0"/>
              </a:rPr>
              <a:t>170</a:t>
            </a:r>
          </a:p>
        </p:txBody>
      </p:sp>
      <p:sp>
        <p:nvSpPr>
          <p:cNvPr id="19" name="CaixaDeTexto 18">
            <a:extLst>
              <a:ext uri="{FF2B5EF4-FFF2-40B4-BE49-F238E27FC236}">
                <a16:creationId xmlns:a16="http://schemas.microsoft.com/office/drawing/2014/main" id="{F3E844CF-8A1E-3B81-3830-593E37FEEFC3}"/>
              </a:ext>
            </a:extLst>
          </p:cNvPr>
          <p:cNvSpPr txBox="1"/>
          <p:nvPr/>
        </p:nvSpPr>
        <p:spPr>
          <a:xfrm>
            <a:off x="9223448" y="4517197"/>
            <a:ext cx="1594872" cy="542584"/>
          </a:xfrm>
          <a:prstGeom prst="rect">
            <a:avLst/>
          </a:prstGeom>
          <a:noFill/>
        </p:spPr>
        <p:txBody>
          <a:bodyPr wrap="square" rtlCol="0">
            <a:spAutoFit/>
          </a:bodyPr>
          <a:lstStyle/>
          <a:p>
            <a:pPr defTabSz="981909">
              <a:defRPr/>
            </a:pPr>
            <a:r>
              <a:rPr lang="pt-BR" sz="1463" b="1" dirty="0" err="1">
                <a:solidFill>
                  <a:srgbClr val="008542"/>
                </a:solidFill>
                <a:latin typeface="Trebuchet MS" panose="020B0703020202090204" pitchFamily="34" charset="0"/>
              </a:rPr>
              <a:t>Effective</a:t>
            </a:r>
            <a:endParaRPr lang="pt-BR" sz="1463" b="1" dirty="0">
              <a:solidFill>
                <a:srgbClr val="008542"/>
              </a:solidFill>
              <a:latin typeface="Trebuchet MS" panose="020B0703020202090204" pitchFamily="34" charset="0"/>
            </a:endParaRPr>
          </a:p>
          <a:p>
            <a:pPr defTabSz="981909">
              <a:defRPr/>
            </a:pPr>
            <a:r>
              <a:rPr lang="pt-BR" sz="1463" b="1" dirty="0" err="1">
                <a:solidFill>
                  <a:srgbClr val="008542"/>
                </a:solidFill>
                <a:latin typeface="Trebuchet MS" panose="020B0703020202090204" pitchFamily="34" charset="0"/>
              </a:rPr>
              <a:t>Own</a:t>
            </a:r>
            <a:endParaRPr lang="pt-BR" sz="1463" b="1" dirty="0">
              <a:solidFill>
                <a:srgbClr val="008542"/>
              </a:solidFill>
              <a:latin typeface="Trebuchet MS" panose="020B0703020202090204" pitchFamily="34" charset="0"/>
            </a:endParaRPr>
          </a:p>
        </p:txBody>
      </p:sp>
      <p:sp>
        <p:nvSpPr>
          <p:cNvPr id="20" name="CaixaDeTexto 19">
            <a:extLst>
              <a:ext uri="{FF2B5EF4-FFF2-40B4-BE49-F238E27FC236}">
                <a16:creationId xmlns:a16="http://schemas.microsoft.com/office/drawing/2014/main" id="{9682280C-E0F8-3311-66E2-A41A591A9BA4}"/>
              </a:ext>
            </a:extLst>
          </p:cNvPr>
          <p:cNvSpPr txBox="1"/>
          <p:nvPr/>
        </p:nvSpPr>
        <p:spPr>
          <a:xfrm>
            <a:off x="8193078" y="4551630"/>
            <a:ext cx="1118586" cy="538737"/>
          </a:xfrm>
          <a:prstGeom prst="rect">
            <a:avLst/>
          </a:prstGeom>
          <a:noFill/>
        </p:spPr>
        <p:txBody>
          <a:bodyPr wrap="square" rtlCol="0">
            <a:spAutoFit/>
          </a:bodyPr>
          <a:lstStyle/>
          <a:p>
            <a:pPr defTabSz="981909">
              <a:defRPr/>
            </a:pPr>
            <a:r>
              <a:rPr lang="pt-BR" sz="2901" b="1" spc="-122" dirty="0">
                <a:solidFill>
                  <a:srgbClr val="008542"/>
                </a:solidFill>
                <a:latin typeface="Trebuchet MS" panose="020B0703020202090204" pitchFamily="34" charset="0"/>
              </a:rPr>
              <a:t>5.685</a:t>
            </a:r>
          </a:p>
        </p:txBody>
      </p:sp>
      <p:pic>
        <p:nvPicPr>
          <p:cNvPr id="21" name="Gráfico 20">
            <a:extLst>
              <a:ext uri="{FF2B5EF4-FFF2-40B4-BE49-F238E27FC236}">
                <a16:creationId xmlns:a16="http://schemas.microsoft.com/office/drawing/2014/main" id="{296AB292-343A-22D3-816E-57FAB29DBE54}"/>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1290323" y="3721957"/>
            <a:ext cx="5266160" cy="1974111"/>
          </a:xfrm>
          <a:prstGeom prst="rect">
            <a:avLst/>
          </a:prstGeom>
        </p:spPr>
      </p:pic>
      <p:pic>
        <p:nvPicPr>
          <p:cNvPr id="22" name="Gráfico 21">
            <a:extLst>
              <a:ext uri="{FF2B5EF4-FFF2-40B4-BE49-F238E27FC236}">
                <a16:creationId xmlns:a16="http://schemas.microsoft.com/office/drawing/2014/main" id="{8E0AE009-9A3E-3590-8C47-02A33D6FEA07}"/>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7648942" y="4505124"/>
            <a:ext cx="506169" cy="506169"/>
          </a:xfrm>
          <a:prstGeom prst="rect">
            <a:avLst/>
          </a:prstGeom>
        </p:spPr>
      </p:pic>
      <p:sp>
        <p:nvSpPr>
          <p:cNvPr id="23" name="CaixaDeTexto 22">
            <a:extLst>
              <a:ext uri="{FF2B5EF4-FFF2-40B4-BE49-F238E27FC236}">
                <a16:creationId xmlns:a16="http://schemas.microsoft.com/office/drawing/2014/main" id="{65C4AD3D-BB6D-325B-7294-B1F150C764FC}"/>
              </a:ext>
            </a:extLst>
          </p:cNvPr>
          <p:cNvSpPr txBox="1"/>
          <p:nvPr/>
        </p:nvSpPr>
        <p:spPr>
          <a:xfrm>
            <a:off x="7528937" y="5733007"/>
            <a:ext cx="3005835" cy="267446"/>
          </a:xfrm>
          <a:prstGeom prst="rect">
            <a:avLst/>
          </a:prstGeom>
          <a:noFill/>
        </p:spPr>
        <p:txBody>
          <a:bodyPr wrap="square" rtlCol="0">
            <a:spAutoFit/>
          </a:bodyPr>
          <a:lstStyle/>
          <a:p>
            <a:pPr defTabSz="742950"/>
            <a:r>
              <a:rPr lang="pt-BR" sz="1138" dirty="0">
                <a:solidFill>
                  <a:prstClr val="white"/>
                </a:solidFill>
                <a:latin typeface="Trebuchet MS" panose="020B0603020202020204" pitchFamily="34" charset="0"/>
              </a:rPr>
              <a:t>Fonte: Relatório Anual Integrado 2024</a:t>
            </a:r>
          </a:p>
        </p:txBody>
      </p:sp>
      <p:sp>
        <p:nvSpPr>
          <p:cNvPr id="24" name="Elipse 23">
            <a:extLst>
              <a:ext uri="{FF2B5EF4-FFF2-40B4-BE49-F238E27FC236}">
                <a16:creationId xmlns:a16="http://schemas.microsoft.com/office/drawing/2014/main" id="{DAA26EE4-2C14-F339-AA4E-2471A6B600AE}"/>
              </a:ext>
            </a:extLst>
          </p:cNvPr>
          <p:cNvSpPr/>
          <p:nvPr/>
        </p:nvSpPr>
        <p:spPr>
          <a:xfrm>
            <a:off x="11685200" y="6374990"/>
            <a:ext cx="398310" cy="398207"/>
          </a:xfrm>
          <a:prstGeom prst="ellipse">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800" b="1" dirty="0">
                <a:solidFill>
                  <a:srgbClr val="006199"/>
                </a:solidFill>
              </a:rPr>
              <a:t>P</a:t>
            </a:r>
          </a:p>
        </p:txBody>
      </p:sp>
      <p:sp>
        <p:nvSpPr>
          <p:cNvPr id="25" name="CaixaDeTexto 24">
            <a:extLst>
              <a:ext uri="{FF2B5EF4-FFF2-40B4-BE49-F238E27FC236}">
                <a16:creationId xmlns:a16="http://schemas.microsoft.com/office/drawing/2014/main" id="{A7F1FACF-5D77-2B87-CEA6-2FC6F5B40445}"/>
              </a:ext>
            </a:extLst>
          </p:cNvPr>
          <p:cNvSpPr txBox="1"/>
          <p:nvPr/>
        </p:nvSpPr>
        <p:spPr>
          <a:xfrm>
            <a:off x="336895" y="343109"/>
            <a:ext cx="9091711" cy="461665"/>
          </a:xfrm>
          <a:prstGeom prst="rect">
            <a:avLst/>
          </a:prstGeom>
          <a:noFill/>
        </p:spPr>
        <p:txBody>
          <a:bodyPr wrap="square">
            <a:spAutoFit/>
          </a:bodyPr>
          <a:lstStyle/>
          <a:p>
            <a:pPr defTabSz="1218832">
              <a:defRPr/>
            </a:pPr>
            <a:r>
              <a:rPr lang="en-US" sz="2400" b="1" dirty="0">
                <a:solidFill>
                  <a:srgbClr val="008542"/>
                </a:solidFill>
                <a:latin typeface="Trebuchet MS" panose="020B0703020202090204" pitchFamily="34" charset="0"/>
              </a:rPr>
              <a:t>TRANSPETRO - </a:t>
            </a:r>
            <a:r>
              <a:rPr kumimoji="0" lang="en-US" sz="2400" b="1" i="0" u="none" strike="noStrike" kern="1200" cap="none" spc="0" normalizeH="0" baseline="0" noProof="0" dirty="0">
                <a:ln>
                  <a:noFill/>
                </a:ln>
                <a:solidFill>
                  <a:srgbClr val="008542"/>
                </a:solidFill>
                <a:effectLst/>
                <a:uLnTx/>
                <a:uFillTx/>
                <a:latin typeface="Trebuchet MS" panose="020B0703020202090204" pitchFamily="34" charset="0"/>
                <a:ea typeface="+mn-ea"/>
                <a:cs typeface="+mn-cs"/>
              </a:rPr>
              <a:t>WHO WE ARE</a:t>
            </a:r>
          </a:p>
        </p:txBody>
      </p:sp>
      <p:sp>
        <p:nvSpPr>
          <p:cNvPr id="26" name="Retângulo 25">
            <a:extLst>
              <a:ext uri="{FF2B5EF4-FFF2-40B4-BE49-F238E27FC236}">
                <a16:creationId xmlns:a16="http://schemas.microsoft.com/office/drawing/2014/main" id="{A65D32BD-0C81-CFE7-1638-EFE4015BBC92}"/>
              </a:ext>
            </a:extLst>
          </p:cNvPr>
          <p:cNvSpPr/>
          <p:nvPr/>
        </p:nvSpPr>
        <p:spPr>
          <a:xfrm>
            <a:off x="419378" y="848159"/>
            <a:ext cx="420421" cy="41563"/>
          </a:xfrm>
          <a:prstGeom prst="rect">
            <a:avLst/>
          </a:prstGeom>
          <a:solidFill>
            <a:srgbClr val="FDC6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Trebuchet MS" panose="020B0703020202090204" pitchFamily="34" charset="0"/>
              <a:ea typeface="+mn-ea"/>
              <a:cs typeface="+mn-cs"/>
            </a:endParaRPr>
          </a:p>
        </p:txBody>
      </p:sp>
    </p:spTree>
    <p:extLst>
      <p:ext uri="{BB962C8B-B14F-4D97-AF65-F5344CB8AC3E}">
        <p14:creationId xmlns:p14="http://schemas.microsoft.com/office/powerpoint/2010/main" val="1872787424"/>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6E0FF1-A877-FD57-71C9-35B1C139298C}"/>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C28F6-9409-9C8E-817A-EE1B1C6A303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4" imgW="592" imgH="591" progId="TCLayout.ActiveDocument.1">
                  <p:embed/>
                </p:oleObj>
              </mc:Choice>
              <mc:Fallback>
                <p:oleObj name="Slide do think-cell" r:id="rId4" imgW="592" imgH="591" progId="TCLayout.ActiveDocument.1">
                  <p:embed/>
                  <p:pic>
                    <p:nvPicPr>
                      <p:cNvPr id="18" name="think-cell data - do not delete" hidden="1">
                        <a:extLst>
                          <a:ext uri="{FF2B5EF4-FFF2-40B4-BE49-F238E27FC236}">
                            <a16:creationId xmlns:a16="http://schemas.microsoft.com/office/drawing/2014/main" id="{5D6C28F6-9409-9C8E-817A-EE1B1C6A30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4" name="Gráfico 23">
            <a:extLst>
              <a:ext uri="{FF2B5EF4-FFF2-40B4-BE49-F238E27FC236}">
                <a16:creationId xmlns:a16="http://schemas.microsoft.com/office/drawing/2014/main" id="{7C8E8EE5-99E3-E501-1DAD-D46968208FC2}"/>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0" y="0"/>
            <a:ext cx="12192000" cy="6858000"/>
          </a:xfrm>
          <a:prstGeom prst="rect">
            <a:avLst/>
          </a:prstGeom>
        </p:spPr>
      </p:pic>
      <p:grpSp>
        <p:nvGrpSpPr>
          <p:cNvPr id="31" name="Agrupar 30">
            <a:extLst>
              <a:ext uri="{FF2B5EF4-FFF2-40B4-BE49-F238E27FC236}">
                <a16:creationId xmlns:a16="http://schemas.microsoft.com/office/drawing/2014/main" id="{9B32167C-CC09-265A-EF08-1F828F02D65A}"/>
              </a:ext>
            </a:extLst>
          </p:cNvPr>
          <p:cNvGrpSpPr/>
          <p:nvPr/>
        </p:nvGrpSpPr>
        <p:grpSpPr>
          <a:xfrm>
            <a:off x="0" y="0"/>
            <a:ext cx="12192000" cy="6556877"/>
            <a:chOff x="0" y="0"/>
            <a:chExt cx="12192000" cy="6556877"/>
          </a:xfrm>
        </p:grpSpPr>
        <p:pic>
          <p:nvPicPr>
            <p:cNvPr id="26" name="Gráfico 25">
              <a:extLst>
                <a:ext uri="{FF2B5EF4-FFF2-40B4-BE49-F238E27FC236}">
                  <a16:creationId xmlns:a16="http://schemas.microsoft.com/office/drawing/2014/main" id="{5E8CA961-E64E-40E9-0976-CA96B8559B46}"/>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0" y="4839694"/>
              <a:ext cx="12192000" cy="1717183"/>
            </a:xfrm>
            <a:prstGeom prst="rect">
              <a:avLst/>
            </a:prstGeom>
          </p:spPr>
        </p:pic>
        <p:sp>
          <p:nvSpPr>
            <p:cNvPr id="30" name="Retângulo 29">
              <a:extLst>
                <a:ext uri="{FF2B5EF4-FFF2-40B4-BE49-F238E27FC236}">
                  <a16:creationId xmlns:a16="http://schemas.microsoft.com/office/drawing/2014/main" id="{069115A2-74D4-9797-8603-E5B859DD77E1}"/>
                </a:ext>
              </a:extLst>
            </p:cNvPr>
            <p:cNvSpPr/>
            <p:nvPr/>
          </p:nvSpPr>
          <p:spPr>
            <a:xfrm>
              <a:off x="0" y="0"/>
              <a:ext cx="12192000" cy="519611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sp>
        <p:nvSpPr>
          <p:cNvPr id="15" name="Retângulo 14">
            <a:extLst>
              <a:ext uri="{FF2B5EF4-FFF2-40B4-BE49-F238E27FC236}">
                <a16:creationId xmlns:a16="http://schemas.microsoft.com/office/drawing/2014/main" id="{CF2E1646-348D-4425-3B07-E9D36F737D11}"/>
              </a:ext>
            </a:extLst>
          </p:cNvPr>
          <p:cNvSpPr>
            <a:spLocks noGrp="1" noRot="1" noMove="1" noResize="1" noEditPoints="1" noAdjustHandles="1" noChangeArrowheads="1" noChangeShapeType="1"/>
          </p:cNvSpPr>
          <p:nvPr/>
        </p:nvSpPr>
        <p:spPr>
          <a:xfrm>
            <a:off x="9418836" y="0"/>
            <a:ext cx="2773163" cy="99670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48" name="CaixaDeTexto 47">
            <a:extLst>
              <a:ext uri="{FF2B5EF4-FFF2-40B4-BE49-F238E27FC236}">
                <a16:creationId xmlns:a16="http://schemas.microsoft.com/office/drawing/2014/main" id="{9B4F735A-7ABD-ACE2-25F6-A9E3B4FCA4C8}"/>
              </a:ext>
            </a:extLst>
          </p:cNvPr>
          <p:cNvSpPr txBox="1"/>
          <p:nvPr/>
        </p:nvSpPr>
        <p:spPr>
          <a:xfrm>
            <a:off x="206477" y="136631"/>
            <a:ext cx="9212297" cy="1046440"/>
          </a:xfrm>
          <a:prstGeom prst="rect">
            <a:avLst/>
          </a:prstGeom>
          <a:noFill/>
        </p:spPr>
        <p:txBody>
          <a:bodyPr wrap="square">
            <a:spAutoFit/>
          </a:bodyPr>
          <a:lstStyle/>
          <a:p>
            <a:pPr lvl="0" defTabSz="1218832">
              <a:defRPr/>
            </a:pPr>
            <a:r>
              <a:rPr lang="en-US" sz="2400" b="1" dirty="0">
                <a:solidFill>
                  <a:srgbClr val="008542"/>
                </a:solidFill>
                <a:latin typeface="Trebuchet MS" panose="020B0703020202090204" pitchFamily="34" charset="0"/>
              </a:rPr>
              <a:t>WHAT IS THE COURSE ?</a:t>
            </a:r>
            <a:br>
              <a:rPr lang="en-US" sz="2400" b="1" dirty="0">
                <a:solidFill>
                  <a:srgbClr val="008542"/>
                </a:solidFill>
                <a:latin typeface="Trebuchet MS" panose="020B0703020202090204" pitchFamily="34" charset="0"/>
              </a:rPr>
            </a:br>
            <a:r>
              <a:rPr lang="en-US" sz="2400" b="1" dirty="0">
                <a:solidFill>
                  <a:srgbClr val="008542"/>
                </a:solidFill>
                <a:latin typeface="Trebuchet MS" panose="020B0703020202090204" pitchFamily="34" charset="0"/>
              </a:rPr>
              <a:t>DECARBONIZATION PLAN FOR TRANSPETRO FLEET</a:t>
            </a:r>
            <a:br>
              <a:rPr lang="en-US" sz="2400" b="1" dirty="0">
                <a:solidFill>
                  <a:srgbClr val="008542"/>
                </a:solidFill>
                <a:latin typeface="Trebuchet MS" panose="020B0703020202090204" pitchFamily="34" charset="0"/>
              </a:rPr>
            </a:br>
            <a:r>
              <a:rPr lang="en-US" sz="1400" b="1" dirty="0">
                <a:solidFill>
                  <a:srgbClr val="008542"/>
                </a:solidFill>
                <a:latin typeface="Trebuchet MS" panose="020B0703020202090204" pitchFamily="34" charset="0"/>
              </a:rPr>
              <a:t>Study and Implementation Plan</a:t>
            </a:r>
            <a:endParaRPr kumimoji="0" lang="en-US" sz="1400" b="1" i="0" u="none" strike="noStrike" kern="1200" cap="none" spc="0" normalizeH="0" baseline="0" noProof="0" dirty="0">
              <a:ln>
                <a:noFill/>
              </a:ln>
              <a:solidFill>
                <a:srgbClr val="008542"/>
              </a:solidFill>
              <a:effectLst/>
              <a:uLnTx/>
              <a:uFillTx/>
              <a:latin typeface="Trebuchet MS" panose="020B0703020202090204" pitchFamily="34" charset="0"/>
            </a:endParaRPr>
          </a:p>
        </p:txBody>
      </p:sp>
      <p:sp>
        <p:nvSpPr>
          <p:cNvPr id="49" name="Retângulo 48">
            <a:extLst>
              <a:ext uri="{FF2B5EF4-FFF2-40B4-BE49-F238E27FC236}">
                <a16:creationId xmlns:a16="http://schemas.microsoft.com/office/drawing/2014/main" id="{AD900180-02E9-45F0-AE55-43FEB333F134}"/>
              </a:ext>
            </a:extLst>
          </p:cNvPr>
          <p:cNvSpPr/>
          <p:nvPr/>
        </p:nvSpPr>
        <p:spPr>
          <a:xfrm>
            <a:off x="301391" y="1192288"/>
            <a:ext cx="420421" cy="41563"/>
          </a:xfrm>
          <a:prstGeom prst="rect">
            <a:avLst/>
          </a:prstGeom>
          <a:solidFill>
            <a:srgbClr val="FDC6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Trebuchet MS" panose="020B0703020202090204" pitchFamily="34" charset="0"/>
              <a:ea typeface="+mn-ea"/>
              <a:cs typeface="+mn-cs"/>
            </a:endParaRPr>
          </a:p>
        </p:txBody>
      </p:sp>
      <p:grpSp>
        <p:nvGrpSpPr>
          <p:cNvPr id="8" name="Agrupar 7">
            <a:extLst>
              <a:ext uri="{FF2B5EF4-FFF2-40B4-BE49-F238E27FC236}">
                <a16:creationId xmlns:a16="http://schemas.microsoft.com/office/drawing/2014/main" id="{C30AF4A6-E19F-5A0D-DBD8-061205ADFD05}"/>
              </a:ext>
            </a:extLst>
          </p:cNvPr>
          <p:cNvGrpSpPr/>
          <p:nvPr/>
        </p:nvGrpSpPr>
        <p:grpSpPr>
          <a:xfrm>
            <a:off x="9920871" y="396837"/>
            <a:ext cx="1774444" cy="322756"/>
            <a:chOff x="16766445" y="10371568"/>
            <a:chExt cx="2926190" cy="532249"/>
          </a:xfrm>
        </p:grpSpPr>
        <p:sp>
          <p:nvSpPr>
            <p:cNvPr id="11" name="object 115">
              <a:extLst>
                <a:ext uri="{FF2B5EF4-FFF2-40B4-BE49-F238E27FC236}">
                  <a16:creationId xmlns:a16="http://schemas.microsoft.com/office/drawing/2014/main" id="{3B8D6343-C3FE-7F22-D459-98DA6ECE5E57}"/>
                </a:ext>
              </a:extLst>
            </p:cNvPr>
            <p:cNvSpPr/>
            <p:nvPr/>
          </p:nvSpPr>
          <p:spPr>
            <a:xfrm>
              <a:off x="16766555" y="10561552"/>
              <a:ext cx="2926080" cy="342265"/>
            </a:xfrm>
            <a:custGeom>
              <a:avLst/>
              <a:gdLst/>
              <a:ahLst/>
              <a:cxnLst/>
              <a:rect l="l" t="t" r="r" b="b"/>
              <a:pathLst>
                <a:path w="2926080" h="342265">
                  <a:moveTo>
                    <a:pt x="846424" y="57034"/>
                  </a:moveTo>
                  <a:lnTo>
                    <a:pt x="781588" y="57034"/>
                  </a:lnTo>
                  <a:lnTo>
                    <a:pt x="740490" y="202192"/>
                  </a:lnTo>
                  <a:lnTo>
                    <a:pt x="804970" y="202192"/>
                  </a:lnTo>
                  <a:lnTo>
                    <a:pt x="846424" y="57034"/>
                  </a:lnTo>
                  <a:close/>
                </a:path>
                <a:path w="2926080" h="342265">
                  <a:moveTo>
                    <a:pt x="911637" y="176350"/>
                  </a:moveTo>
                  <a:lnTo>
                    <a:pt x="904537" y="202192"/>
                  </a:lnTo>
                  <a:lnTo>
                    <a:pt x="911637" y="202192"/>
                  </a:lnTo>
                  <a:lnTo>
                    <a:pt x="911637" y="176350"/>
                  </a:lnTo>
                  <a:close/>
                </a:path>
                <a:path w="2926080" h="342265">
                  <a:moveTo>
                    <a:pt x="1032073" y="5266"/>
                  </a:moveTo>
                  <a:lnTo>
                    <a:pt x="960494" y="5266"/>
                  </a:lnTo>
                  <a:lnTo>
                    <a:pt x="911637" y="176350"/>
                  </a:lnTo>
                  <a:lnTo>
                    <a:pt x="911637" y="202192"/>
                  </a:lnTo>
                  <a:lnTo>
                    <a:pt x="969017" y="202192"/>
                  </a:lnTo>
                  <a:lnTo>
                    <a:pt x="988462" y="133535"/>
                  </a:lnTo>
                  <a:lnTo>
                    <a:pt x="1032073" y="133535"/>
                  </a:lnTo>
                  <a:lnTo>
                    <a:pt x="1032073" y="90300"/>
                  </a:lnTo>
                  <a:lnTo>
                    <a:pt x="1000880" y="90300"/>
                  </a:lnTo>
                  <a:lnTo>
                    <a:pt x="1011854" y="50961"/>
                  </a:lnTo>
                  <a:lnTo>
                    <a:pt x="1032073" y="50961"/>
                  </a:lnTo>
                  <a:lnTo>
                    <a:pt x="1032073" y="5266"/>
                  </a:lnTo>
                  <a:close/>
                </a:path>
                <a:path w="2926080" h="342265">
                  <a:moveTo>
                    <a:pt x="1032073" y="171439"/>
                  </a:moveTo>
                  <a:lnTo>
                    <a:pt x="1029341" y="182273"/>
                  </a:lnTo>
                  <a:lnTo>
                    <a:pt x="1027494" y="191214"/>
                  </a:lnTo>
                  <a:lnTo>
                    <a:pt x="1026516" y="197956"/>
                  </a:lnTo>
                  <a:lnTo>
                    <a:pt x="1026387" y="202192"/>
                  </a:lnTo>
                  <a:lnTo>
                    <a:pt x="1032073" y="202192"/>
                  </a:lnTo>
                  <a:lnTo>
                    <a:pt x="1032073" y="171439"/>
                  </a:lnTo>
                  <a:close/>
                </a:path>
                <a:path w="2926080" h="342265">
                  <a:moveTo>
                    <a:pt x="1053643" y="5266"/>
                  </a:moveTo>
                  <a:lnTo>
                    <a:pt x="1032073" y="5266"/>
                  </a:lnTo>
                  <a:lnTo>
                    <a:pt x="1032073" y="50961"/>
                  </a:lnTo>
                  <a:lnTo>
                    <a:pt x="1041957" y="50961"/>
                  </a:lnTo>
                  <a:lnTo>
                    <a:pt x="1052136" y="52233"/>
                  </a:lnTo>
                  <a:lnTo>
                    <a:pt x="1059357" y="56065"/>
                  </a:lnTo>
                  <a:lnTo>
                    <a:pt x="1062931" y="62477"/>
                  </a:lnTo>
                  <a:lnTo>
                    <a:pt x="1062166" y="71495"/>
                  </a:lnTo>
                  <a:lnTo>
                    <a:pt x="1058448" y="79523"/>
                  </a:lnTo>
                  <a:lnTo>
                    <a:pt x="1052153" y="85158"/>
                  </a:lnTo>
                  <a:lnTo>
                    <a:pt x="1043342" y="88662"/>
                  </a:lnTo>
                  <a:lnTo>
                    <a:pt x="1032073" y="90300"/>
                  </a:lnTo>
                  <a:lnTo>
                    <a:pt x="1032073" y="138110"/>
                  </a:lnTo>
                  <a:lnTo>
                    <a:pt x="1035517" y="142655"/>
                  </a:lnTo>
                  <a:lnTo>
                    <a:pt x="1036578" y="148995"/>
                  </a:lnTo>
                  <a:lnTo>
                    <a:pt x="1035648" y="157338"/>
                  </a:lnTo>
                  <a:lnTo>
                    <a:pt x="1033120" y="167890"/>
                  </a:lnTo>
                  <a:lnTo>
                    <a:pt x="1032073" y="171439"/>
                  </a:lnTo>
                  <a:lnTo>
                    <a:pt x="1032073" y="202192"/>
                  </a:lnTo>
                  <a:lnTo>
                    <a:pt x="1091893" y="202192"/>
                  </a:lnTo>
                  <a:lnTo>
                    <a:pt x="1093673" y="196213"/>
                  </a:lnTo>
                  <a:lnTo>
                    <a:pt x="1089851" y="194484"/>
                  </a:lnTo>
                  <a:lnTo>
                    <a:pt x="1089574" y="188742"/>
                  </a:lnTo>
                  <a:lnTo>
                    <a:pt x="1092139" y="178155"/>
                  </a:lnTo>
                  <a:lnTo>
                    <a:pt x="1096846" y="161890"/>
                  </a:lnTo>
                  <a:lnTo>
                    <a:pt x="1101208" y="138020"/>
                  </a:lnTo>
                  <a:lnTo>
                    <a:pt x="1098638" y="123678"/>
                  </a:lnTo>
                  <a:lnTo>
                    <a:pt x="1090477" y="115329"/>
                  </a:lnTo>
                  <a:lnTo>
                    <a:pt x="1078071" y="109441"/>
                  </a:lnTo>
                  <a:lnTo>
                    <a:pt x="1094089" y="102911"/>
                  </a:lnTo>
                  <a:lnTo>
                    <a:pt x="1107053" y="92859"/>
                  </a:lnTo>
                  <a:lnTo>
                    <a:pt x="1116961" y="80026"/>
                  </a:lnTo>
                  <a:lnTo>
                    <a:pt x="1123808" y="65149"/>
                  </a:lnTo>
                  <a:lnTo>
                    <a:pt x="1123808" y="25465"/>
                  </a:lnTo>
                  <a:lnTo>
                    <a:pt x="1114887" y="16491"/>
                  </a:lnTo>
                  <a:lnTo>
                    <a:pt x="1100548" y="10194"/>
                  </a:lnTo>
                  <a:lnTo>
                    <a:pt x="1080298" y="6483"/>
                  </a:lnTo>
                  <a:lnTo>
                    <a:pt x="1053643" y="5266"/>
                  </a:lnTo>
                  <a:close/>
                </a:path>
                <a:path w="2926080" h="342265">
                  <a:moveTo>
                    <a:pt x="1123808" y="196213"/>
                  </a:moveTo>
                  <a:lnTo>
                    <a:pt x="1119882" y="202192"/>
                  </a:lnTo>
                  <a:lnTo>
                    <a:pt x="1123808" y="202192"/>
                  </a:lnTo>
                  <a:lnTo>
                    <a:pt x="1123808" y="196213"/>
                  </a:lnTo>
                  <a:close/>
                </a:path>
                <a:path w="2926080" h="342265">
                  <a:moveTo>
                    <a:pt x="1242443" y="11675"/>
                  </a:moveTo>
                  <a:lnTo>
                    <a:pt x="1123808" y="196213"/>
                  </a:lnTo>
                  <a:lnTo>
                    <a:pt x="1123808" y="202192"/>
                  </a:lnTo>
                  <a:lnTo>
                    <a:pt x="1183314" y="202192"/>
                  </a:lnTo>
                  <a:lnTo>
                    <a:pt x="1198172" y="176350"/>
                  </a:lnTo>
                  <a:lnTo>
                    <a:pt x="1242443" y="176350"/>
                  </a:lnTo>
                  <a:lnTo>
                    <a:pt x="1242443" y="135294"/>
                  </a:lnTo>
                  <a:lnTo>
                    <a:pt x="1221910" y="135294"/>
                  </a:lnTo>
                  <a:lnTo>
                    <a:pt x="1242443" y="99159"/>
                  </a:lnTo>
                  <a:lnTo>
                    <a:pt x="1242443" y="11675"/>
                  </a:lnTo>
                  <a:close/>
                </a:path>
                <a:path w="2926080" h="342265">
                  <a:moveTo>
                    <a:pt x="1316746" y="64458"/>
                  </a:moveTo>
                  <a:lnTo>
                    <a:pt x="1261940" y="64458"/>
                  </a:lnTo>
                  <a:lnTo>
                    <a:pt x="1262631" y="135294"/>
                  </a:lnTo>
                  <a:lnTo>
                    <a:pt x="1242443" y="135294"/>
                  </a:lnTo>
                  <a:lnTo>
                    <a:pt x="1242443" y="176350"/>
                  </a:lnTo>
                  <a:lnTo>
                    <a:pt x="1262296" y="176350"/>
                  </a:lnTo>
                  <a:lnTo>
                    <a:pt x="1262631" y="202192"/>
                  </a:lnTo>
                  <a:lnTo>
                    <a:pt x="1327153" y="202192"/>
                  </a:lnTo>
                  <a:lnTo>
                    <a:pt x="1316746" y="64458"/>
                  </a:lnTo>
                  <a:close/>
                </a:path>
                <a:path w="2926080" h="342265">
                  <a:moveTo>
                    <a:pt x="1032073" y="133535"/>
                  </a:moveTo>
                  <a:lnTo>
                    <a:pt x="1020356" y="133535"/>
                  </a:lnTo>
                  <a:lnTo>
                    <a:pt x="1027832" y="134938"/>
                  </a:lnTo>
                  <a:lnTo>
                    <a:pt x="1032073" y="138110"/>
                  </a:lnTo>
                  <a:lnTo>
                    <a:pt x="1032073" y="133535"/>
                  </a:lnTo>
                  <a:close/>
                </a:path>
                <a:path w="2926080" h="342265">
                  <a:moveTo>
                    <a:pt x="1312274" y="5266"/>
                  </a:moveTo>
                  <a:lnTo>
                    <a:pt x="1246695" y="5266"/>
                  </a:lnTo>
                  <a:lnTo>
                    <a:pt x="1242443" y="11675"/>
                  </a:lnTo>
                  <a:lnTo>
                    <a:pt x="1242443" y="99159"/>
                  </a:lnTo>
                  <a:lnTo>
                    <a:pt x="1261940" y="64458"/>
                  </a:lnTo>
                  <a:lnTo>
                    <a:pt x="1316746" y="64458"/>
                  </a:lnTo>
                  <a:lnTo>
                    <a:pt x="1312274" y="5266"/>
                  </a:lnTo>
                  <a:close/>
                </a:path>
                <a:path w="2926080" h="342265">
                  <a:moveTo>
                    <a:pt x="1123808" y="25465"/>
                  </a:moveTo>
                  <a:lnTo>
                    <a:pt x="1123808" y="65149"/>
                  </a:lnTo>
                  <a:lnTo>
                    <a:pt x="1124824" y="61254"/>
                  </a:lnTo>
                  <a:lnTo>
                    <a:pt x="1127276" y="50638"/>
                  </a:lnTo>
                  <a:lnTo>
                    <a:pt x="1128058" y="41113"/>
                  </a:lnTo>
                  <a:lnTo>
                    <a:pt x="1126969" y="32712"/>
                  </a:lnTo>
                  <a:lnTo>
                    <a:pt x="1123808" y="25465"/>
                  </a:lnTo>
                  <a:close/>
                </a:path>
                <a:path w="2926080" h="342265">
                  <a:moveTo>
                    <a:pt x="911637" y="5266"/>
                  </a:moveTo>
                  <a:lnTo>
                    <a:pt x="738354" y="5266"/>
                  </a:lnTo>
                  <a:lnTo>
                    <a:pt x="723517" y="57034"/>
                  </a:lnTo>
                  <a:lnTo>
                    <a:pt x="904537" y="57034"/>
                  </a:lnTo>
                  <a:lnTo>
                    <a:pt x="911637" y="31150"/>
                  </a:lnTo>
                  <a:lnTo>
                    <a:pt x="911637" y="5266"/>
                  </a:lnTo>
                  <a:close/>
                </a:path>
                <a:path w="2926080" h="342265">
                  <a:moveTo>
                    <a:pt x="919040" y="5266"/>
                  </a:moveTo>
                  <a:lnTo>
                    <a:pt x="911637" y="5266"/>
                  </a:lnTo>
                  <a:lnTo>
                    <a:pt x="911637" y="31150"/>
                  </a:lnTo>
                  <a:lnTo>
                    <a:pt x="919040" y="5266"/>
                  </a:lnTo>
                  <a:close/>
                </a:path>
                <a:path w="2926080" h="342265">
                  <a:moveTo>
                    <a:pt x="1678168" y="141660"/>
                  </a:moveTo>
                  <a:lnTo>
                    <a:pt x="1616526" y="141660"/>
                  </a:lnTo>
                  <a:lnTo>
                    <a:pt x="1616162" y="166898"/>
                  </a:lnTo>
                  <a:lnTo>
                    <a:pt x="1627883" y="187885"/>
                  </a:lnTo>
                  <a:lnTo>
                    <a:pt x="1651025" y="202230"/>
                  </a:lnTo>
                  <a:lnTo>
                    <a:pt x="1684922" y="207543"/>
                  </a:lnTo>
                  <a:lnTo>
                    <a:pt x="1723576" y="203340"/>
                  </a:lnTo>
                  <a:lnTo>
                    <a:pt x="1756382" y="190666"/>
                  </a:lnTo>
                  <a:lnTo>
                    <a:pt x="1781352" y="169430"/>
                  </a:lnTo>
                  <a:lnTo>
                    <a:pt x="1785014" y="162204"/>
                  </a:lnTo>
                  <a:lnTo>
                    <a:pt x="1695204" y="162204"/>
                  </a:lnTo>
                  <a:lnTo>
                    <a:pt x="1688786" y="160445"/>
                  </a:lnTo>
                  <a:lnTo>
                    <a:pt x="1684535" y="157230"/>
                  </a:lnTo>
                  <a:lnTo>
                    <a:pt x="1679959" y="153723"/>
                  </a:lnTo>
                  <a:lnTo>
                    <a:pt x="1677833" y="148749"/>
                  </a:lnTo>
                  <a:lnTo>
                    <a:pt x="1678168" y="141660"/>
                  </a:lnTo>
                  <a:close/>
                </a:path>
                <a:path w="2926080" h="342265">
                  <a:moveTo>
                    <a:pt x="1746575" y="0"/>
                  </a:moveTo>
                  <a:lnTo>
                    <a:pt x="1711326" y="3919"/>
                  </a:lnTo>
                  <a:lnTo>
                    <a:pt x="1680889" y="15702"/>
                  </a:lnTo>
                  <a:lnTo>
                    <a:pt x="1657433" y="35387"/>
                  </a:lnTo>
                  <a:lnTo>
                    <a:pt x="1643122" y="63013"/>
                  </a:lnTo>
                  <a:lnTo>
                    <a:pt x="1645061" y="97763"/>
                  </a:lnTo>
                  <a:lnTo>
                    <a:pt x="1667805" y="116579"/>
                  </a:lnTo>
                  <a:lnTo>
                    <a:pt x="1698502" y="126487"/>
                  </a:lnTo>
                  <a:lnTo>
                    <a:pt x="1724299" y="134513"/>
                  </a:lnTo>
                  <a:lnTo>
                    <a:pt x="1732345" y="147681"/>
                  </a:lnTo>
                  <a:lnTo>
                    <a:pt x="1728800" y="153837"/>
                  </a:lnTo>
                  <a:lnTo>
                    <a:pt x="1722156" y="158398"/>
                  </a:lnTo>
                  <a:lnTo>
                    <a:pt x="1712914" y="161231"/>
                  </a:lnTo>
                  <a:lnTo>
                    <a:pt x="1701571" y="162204"/>
                  </a:lnTo>
                  <a:lnTo>
                    <a:pt x="1785014" y="162204"/>
                  </a:lnTo>
                  <a:lnTo>
                    <a:pt x="1796500" y="139535"/>
                  </a:lnTo>
                  <a:lnTo>
                    <a:pt x="1789973" y="100529"/>
                  </a:lnTo>
                  <a:lnTo>
                    <a:pt x="1756214" y="82271"/>
                  </a:lnTo>
                  <a:lnTo>
                    <a:pt x="1720204" y="71914"/>
                  </a:lnTo>
                  <a:lnTo>
                    <a:pt x="1706921" y="56616"/>
                  </a:lnTo>
                  <a:lnTo>
                    <a:pt x="1709501" y="51864"/>
                  </a:lnTo>
                  <a:lnTo>
                    <a:pt x="1714227" y="48312"/>
                  </a:lnTo>
                  <a:lnTo>
                    <a:pt x="1721219" y="46087"/>
                  </a:lnTo>
                  <a:lnTo>
                    <a:pt x="1730596" y="45317"/>
                  </a:lnTo>
                  <a:lnTo>
                    <a:pt x="1812738" y="45317"/>
                  </a:lnTo>
                  <a:lnTo>
                    <a:pt x="1812563" y="38086"/>
                  </a:lnTo>
                  <a:lnTo>
                    <a:pt x="1802310" y="18274"/>
                  </a:lnTo>
                  <a:lnTo>
                    <a:pt x="1780832" y="4905"/>
                  </a:lnTo>
                  <a:lnTo>
                    <a:pt x="1746575" y="0"/>
                  </a:lnTo>
                  <a:close/>
                </a:path>
                <a:path w="2926080" h="342265">
                  <a:moveTo>
                    <a:pt x="1812738" y="45317"/>
                  </a:moveTo>
                  <a:lnTo>
                    <a:pt x="1737004" y="45317"/>
                  </a:lnTo>
                  <a:lnTo>
                    <a:pt x="1742292" y="46386"/>
                  </a:lnTo>
                  <a:lnTo>
                    <a:pt x="1750135" y="51338"/>
                  </a:lnTo>
                  <a:lnTo>
                    <a:pt x="1752574" y="55621"/>
                  </a:lnTo>
                  <a:lnTo>
                    <a:pt x="1751883" y="62322"/>
                  </a:lnTo>
                  <a:lnTo>
                    <a:pt x="1813148" y="62322"/>
                  </a:lnTo>
                  <a:lnTo>
                    <a:pt x="1812738" y="45317"/>
                  </a:lnTo>
                  <a:close/>
                </a:path>
                <a:path w="2926080" h="342265">
                  <a:moveTo>
                    <a:pt x="1481232" y="5266"/>
                  </a:moveTo>
                  <a:lnTo>
                    <a:pt x="1421035" y="5266"/>
                  </a:lnTo>
                  <a:lnTo>
                    <a:pt x="1365036" y="202192"/>
                  </a:lnTo>
                  <a:lnTo>
                    <a:pt x="1427014" y="202192"/>
                  </a:lnTo>
                  <a:lnTo>
                    <a:pt x="1444395" y="139911"/>
                  </a:lnTo>
                  <a:lnTo>
                    <a:pt x="1454678" y="94876"/>
                  </a:lnTo>
                  <a:lnTo>
                    <a:pt x="1514618" y="94876"/>
                  </a:lnTo>
                  <a:lnTo>
                    <a:pt x="1481232" y="5266"/>
                  </a:lnTo>
                  <a:close/>
                </a:path>
                <a:path w="2926080" h="342265">
                  <a:moveTo>
                    <a:pt x="1514618" y="94876"/>
                  </a:moveTo>
                  <a:lnTo>
                    <a:pt x="1454678" y="94876"/>
                  </a:lnTo>
                  <a:lnTo>
                    <a:pt x="1494666" y="202192"/>
                  </a:lnTo>
                  <a:lnTo>
                    <a:pt x="1555282" y="202192"/>
                  </a:lnTo>
                  <a:lnTo>
                    <a:pt x="1580728" y="112624"/>
                  </a:lnTo>
                  <a:lnTo>
                    <a:pt x="1521231" y="112624"/>
                  </a:lnTo>
                  <a:lnTo>
                    <a:pt x="1514618" y="94876"/>
                  </a:lnTo>
                  <a:close/>
                </a:path>
                <a:path w="2926080" h="342265">
                  <a:moveTo>
                    <a:pt x="1611228" y="5266"/>
                  </a:moveTo>
                  <a:lnTo>
                    <a:pt x="1549251" y="5266"/>
                  </a:lnTo>
                  <a:lnTo>
                    <a:pt x="1531555" y="67987"/>
                  </a:lnTo>
                  <a:lnTo>
                    <a:pt x="1521231" y="112624"/>
                  </a:lnTo>
                  <a:lnTo>
                    <a:pt x="1580728" y="112624"/>
                  </a:lnTo>
                  <a:lnTo>
                    <a:pt x="1611228" y="5266"/>
                  </a:lnTo>
                  <a:close/>
                </a:path>
                <a:path w="2926080" h="342265">
                  <a:moveTo>
                    <a:pt x="1944935" y="5266"/>
                  </a:moveTo>
                  <a:lnTo>
                    <a:pt x="1875503" y="5266"/>
                  </a:lnTo>
                  <a:lnTo>
                    <a:pt x="1819546" y="202192"/>
                  </a:lnTo>
                  <a:lnTo>
                    <a:pt x="1884340" y="202192"/>
                  </a:lnTo>
                  <a:lnTo>
                    <a:pt x="1901722" y="140980"/>
                  </a:lnTo>
                  <a:lnTo>
                    <a:pt x="1941385" y="140980"/>
                  </a:lnTo>
                  <a:lnTo>
                    <a:pt x="1944935" y="140634"/>
                  </a:lnTo>
                  <a:lnTo>
                    <a:pt x="1944935" y="94876"/>
                  </a:lnTo>
                  <a:lnTo>
                    <a:pt x="1914800" y="94876"/>
                  </a:lnTo>
                  <a:lnTo>
                    <a:pt x="1927218" y="50961"/>
                  </a:lnTo>
                  <a:lnTo>
                    <a:pt x="1944935" y="50961"/>
                  </a:lnTo>
                  <a:lnTo>
                    <a:pt x="1944935" y="5266"/>
                  </a:lnTo>
                  <a:close/>
                </a:path>
                <a:path w="2926080" h="342265">
                  <a:moveTo>
                    <a:pt x="1970756" y="5266"/>
                  </a:moveTo>
                  <a:lnTo>
                    <a:pt x="1944935" y="5266"/>
                  </a:lnTo>
                  <a:lnTo>
                    <a:pt x="1944935" y="50961"/>
                  </a:lnTo>
                  <a:lnTo>
                    <a:pt x="1945626" y="50961"/>
                  </a:lnTo>
                  <a:lnTo>
                    <a:pt x="1956634" y="51643"/>
                  </a:lnTo>
                  <a:lnTo>
                    <a:pt x="1967014" y="54521"/>
                  </a:lnTo>
                  <a:lnTo>
                    <a:pt x="1973878" y="60847"/>
                  </a:lnTo>
                  <a:lnTo>
                    <a:pt x="1974337" y="71872"/>
                  </a:lnTo>
                  <a:lnTo>
                    <a:pt x="1969699" y="82094"/>
                  </a:lnTo>
                  <a:lnTo>
                    <a:pt x="1962966" y="89087"/>
                  </a:lnTo>
                  <a:lnTo>
                    <a:pt x="1954568" y="93224"/>
                  </a:lnTo>
                  <a:lnTo>
                    <a:pt x="1944935" y="94876"/>
                  </a:lnTo>
                  <a:lnTo>
                    <a:pt x="1944935" y="140634"/>
                  </a:lnTo>
                  <a:lnTo>
                    <a:pt x="2005067" y="119882"/>
                  </a:lnTo>
                  <a:lnTo>
                    <a:pt x="2035969" y="71495"/>
                  </a:lnTo>
                  <a:lnTo>
                    <a:pt x="2038543" y="44126"/>
                  </a:lnTo>
                  <a:lnTo>
                    <a:pt x="2028885" y="23251"/>
                  </a:lnTo>
                  <a:lnTo>
                    <a:pt x="2006467" y="9941"/>
                  </a:lnTo>
                  <a:lnTo>
                    <a:pt x="1970756" y="5266"/>
                  </a:lnTo>
                  <a:close/>
                </a:path>
                <a:path w="2926080" h="342265">
                  <a:moveTo>
                    <a:pt x="2255606" y="5266"/>
                  </a:moveTo>
                  <a:lnTo>
                    <a:pt x="2094773" y="5266"/>
                  </a:lnTo>
                  <a:lnTo>
                    <a:pt x="2038817" y="202192"/>
                  </a:lnTo>
                  <a:lnTo>
                    <a:pt x="2203524" y="202192"/>
                  </a:lnTo>
                  <a:lnTo>
                    <a:pt x="2216655" y="156204"/>
                  </a:lnTo>
                  <a:lnTo>
                    <a:pt x="2116375" y="156204"/>
                  </a:lnTo>
                  <a:lnTo>
                    <a:pt x="2125233" y="125388"/>
                  </a:lnTo>
                  <a:lnTo>
                    <a:pt x="2206707" y="125388"/>
                  </a:lnTo>
                  <a:lnTo>
                    <a:pt x="2219827" y="79337"/>
                  </a:lnTo>
                  <a:lnTo>
                    <a:pt x="2138353" y="79337"/>
                  </a:lnTo>
                  <a:lnTo>
                    <a:pt x="2146489" y="50961"/>
                  </a:lnTo>
                  <a:lnTo>
                    <a:pt x="2242518" y="50961"/>
                  </a:lnTo>
                  <a:lnTo>
                    <a:pt x="2255606" y="5266"/>
                  </a:lnTo>
                  <a:close/>
                </a:path>
                <a:path w="2926080" h="342265">
                  <a:moveTo>
                    <a:pt x="2404408" y="57034"/>
                  </a:moveTo>
                  <a:lnTo>
                    <a:pt x="2339530" y="57034"/>
                  </a:lnTo>
                  <a:lnTo>
                    <a:pt x="2298453" y="202192"/>
                  </a:lnTo>
                  <a:lnTo>
                    <a:pt x="2362943" y="202192"/>
                  </a:lnTo>
                  <a:lnTo>
                    <a:pt x="2404408" y="57034"/>
                  </a:lnTo>
                  <a:close/>
                </a:path>
                <a:path w="2926080" h="342265">
                  <a:moveTo>
                    <a:pt x="2469893" y="176350"/>
                  </a:moveTo>
                  <a:lnTo>
                    <a:pt x="2462500" y="202192"/>
                  </a:lnTo>
                  <a:lnTo>
                    <a:pt x="2469893" y="202192"/>
                  </a:lnTo>
                  <a:lnTo>
                    <a:pt x="2469893" y="176350"/>
                  </a:lnTo>
                  <a:close/>
                </a:path>
                <a:path w="2926080" h="342265">
                  <a:moveTo>
                    <a:pt x="2590004" y="5266"/>
                  </a:moveTo>
                  <a:lnTo>
                    <a:pt x="2518436" y="5266"/>
                  </a:lnTo>
                  <a:lnTo>
                    <a:pt x="2469893" y="176350"/>
                  </a:lnTo>
                  <a:lnTo>
                    <a:pt x="2469893" y="202192"/>
                  </a:lnTo>
                  <a:lnTo>
                    <a:pt x="2526959" y="202192"/>
                  </a:lnTo>
                  <a:lnTo>
                    <a:pt x="2546833" y="133535"/>
                  </a:lnTo>
                  <a:lnTo>
                    <a:pt x="2590004" y="133535"/>
                  </a:lnTo>
                  <a:lnTo>
                    <a:pt x="2590004" y="90300"/>
                  </a:lnTo>
                  <a:lnTo>
                    <a:pt x="2558812" y="90300"/>
                  </a:lnTo>
                  <a:lnTo>
                    <a:pt x="2570193" y="50961"/>
                  </a:lnTo>
                  <a:lnTo>
                    <a:pt x="2590004" y="50961"/>
                  </a:lnTo>
                  <a:lnTo>
                    <a:pt x="2590004" y="5266"/>
                  </a:lnTo>
                  <a:close/>
                </a:path>
                <a:path w="2926080" h="342265">
                  <a:moveTo>
                    <a:pt x="2590004" y="171439"/>
                  </a:moveTo>
                  <a:lnTo>
                    <a:pt x="2587335" y="182273"/>
                  </a:lnTo>
                  <a:lnTo>
                    <a:pt x="2585621" y="191214"/>
                  </a:lnTo>
                  <a:lnTo>
                    <a:pt x="2584761" y="197956"/>
                  </a:lnTo>
                  <a:lnTo>
                    <a:pt x="2584654" y="202192"/>
                  </a:lnTo>
                  <a:lnTo>
                    <a:pt x="2590004" y="202192"/>
                  </a:lnTo>
                  <a:lnTo>
                    <a:pt x="2590004" y="171439"/>
                  </a:lnTo>
                  <a:close/>
                </a:path>
                <a:path w="2926080" h="342265">
                  <a:moveTo>
                    <a:pt x="2611606" y="5266"/>
                  </a:moveTo>
                  <a:lnTo>
                    <a:pt x="2590004" y="5266"/>
                  </a:lnTo>
                  <a:lnTo>
                    <a:pt x="2590004" y="50961"/>
                  </a:lnTo>
                  <a:lnTo>
                    <a:pt x="2600287" y="50961"/>
                  </a:lnTo>
                  <a:lnTo>
                    <a:pt x="2610264" y="52233"/>
                  </a:lnTo>
                  <a:lnTo>
                    <a:pt x="2617424" y="56065"/>
                  </a:lnTo>
                  <a:lnTo>
                    <a:pt x="2621059" y="62477"/>
                  </a:lnTo>
                  <a:lnTo>
                    <a:pt x="2620464" y="71495"/>
                  </a:lnTo>
                  <a:lnTo>
                    <a:pt x="2616546" y="79523"/>
                  </a:lnTo>
                  <a:lnTo>
                    <a:pt x="2610139" y="85158"/>
                  </a:lnTo>
                  <a:lnTo>
                    <a:pt x="2601279" y="88662"/>
                  </a:lnTo>
                  <a:lnTo>
                    <a:pt x="2590004" y="90300"/>
                  </a:lnTo>
                  <a:lnTo>
                    <a:pt x="2590004" y="138110"/>
                  </a:lnTo>
                  <a:lnTo>
                    <a:pt x="2593657" y="142655"/>
                  </a:lnTo>
                  <a:lnTo>
                    <a:pt x="2594791" y="148995"/>
                  </a:lnTo>
                  <a:lnTo>
                    <a:pt x="2593799" y="157338"/>
                  </a:lnTo>
                  <a:lnTo>
                    <a:pt x="2591072" y="167890"/>
                  </a:lnTo>
                  <a:lnTo>
                    <a:pt x="2590004" y="171439"/>
                  </a:lnTo>
                  <a:lnTo>
                    <a:pt x="2590004" y="202192"/>
                  </a:lnTo>
                  <a:lnTo>
                    <a:pt x="2650243" y="202192"/>
                  </a:lnTo>
                  <a:lnTo>
                    <a:pt x="2651667" y="196213"/>
                  </a:lnTo>
                  <a:lnTo>
                    <a:pt x="2647966" y="194484"/>
                  </a:lnTo>
                  <a:lnTo>
                    <a:pt x="2647661" y="188742"/>
                  </a:lnTo>
                  <a:lnTo>
                    <a:pt x="2650158" y="178155"/>
                  </a:lnTo>
                  <a:lnTo>
                    <a:pt x="2654861" y="161890"/>
                  </a:lnTo>
                  <a:lnTo>
                    <a:pt x="2659330" y="138020"/>
                  </a:lnTo>
                  <a:lnTo>
                    <a:pt x="2656746" y="123678"/>
                  </a:lnTo>
                  <a:lnTo>
                    <a:pt x="2648524" y="115329"/>
                  </a:lnTo>
                  <a:lnTo>
                    <a:pt x="2636076" y="109441"/>
                  </a:lnTo>
                  <a:lnTo>
                    <a:pt x="2652933" y="102395"/>
                  </a:lnTo>
                  <a:lnTo>
                    <a:pt x="2666382" y="91442"/>
                  </a:lnTo>
                  <a:lnTo>
                    <a:pt x="2676457" y="77442"/>
                  </a:lnTo>
                  <a:lnTo>
                    <a:pt x="2683195" y="61254"/>
                  </a:lnTo>
                  <a:lnTo>
                    <a:pt x="2685751" y="36360"/>
                  </a:lnTo>
                  <a:lnTo>
                    <a:pt x="2676096" y="18909"/>
                  </a:lnTo>
                  <a:lnTo>
                    <a:pt x="2652094" y="8633"/>
                  </a:lnTo>
                  <a:lnTo>
                    <a:pt x="2611606" y="5266"/>
                  </a:lnTo>
                  <a:close/>
                </a:path>
                <a:path w="2926080" h="342265">
                  <a:moveTo>
                    <a:pt x="2590004" y="133535"/>
                  </a:moveTo>
                  <a:lnTo>
                    <a:pt x="2578361" y="133535"/>
                  </a:lnTo>
                  <a:lnTo>
                    <a:pt x="2585764" y="134938"/>
                  </a:lnTo>
                  <a:lnTo>
                    <a:pt x="2590004" y="138110"/>
                  </a:lnTo>
                  <a:lnTo>
                    <a:pt x="2590004" y="133535"/>
                  </a:lnTo>
                  <a:close/>
                </a:path>
                <a:path w="2926080" h="342265">
                  <a:moveTo>
                    <a:pt x="2469893" y="5266"/>
                  </a:moveTo>
                  <a:lnTo>
                    <a:pt x="2296348" y="5266"/>
                  </a:lnTo>
                  <a:lnTo>
                    <a:pt x="2281469" y="57034"/>
                  </a:lnTo>
                  <a:lnTo>
                    <a:pt x="2462500" y="57034"/>
                  </a:lnTo>
                  <a:lnTo>
                    <a:pt x="2469893" y="31150"/>
                  </a:lnTo>
                  <a:lnTo>
                    <a:pt x="2469893" y="5266"/>
                  </a:lnTo>
                  <a:close/>
                </a:path>
                <a:path w="2926080" h="342265">
                  <a:moveTo>
                    <a:pt x="2476961" y="5266"/>
                  </a:moveTo>
                  <a:lnTo>
                    <a:pt x="2469893" y="5266"/>
                  </a:lnTo>
                  <a:lnTo>
                    <a:pt x="2469893" y="31150"/>
                  </a:lnTo>
                  <a:lnTo>
                    <a:pt x="2476961" y="5266"/>
                  </a:lnTo>
                  <a:close/>
                </a:path>
                <a:path w="2926080" h="342265">
                  <a:moveTo>
                    <a:pt x="2817066" y="3172"/>
                  </a:moveTo>
                  <a:lnTo>
                    <a:pt x="2752917" y="37193"/>
                  </a:lnTo>
                  <a:lnTo>
                    <a:pt x="2714032" y="102007"/>
                  </a:lnTo>
                  <a:lnTo>
                    <a:pt x="2708867" y="146888"/>
                  </a:lnTo>
                  <a:lnTo>
                    <a:pt x="2720489" y="180011"/>
                  </a:lnTo>
                  <a:lnTo>
                    <a:pt x="2747214" y="200516"/>
                  </a:lnTo>
                  <a:lnTo>
                    <a:pt x="2787360" y="207543"/>
                  </a:lnTo>
                  <a:lnTo>
                    <a:pt x="2794986" y="207348"/>
                  </a:lnTo>
                  <a:lnTo>
                    <a:pt x="2802468" y="206756"/>
                  </a:lnTo>
                  <a:lnTo>
                    <a:pt x="2809822" y="205754"/>
                  </a:lnTo>
                  <a:lnTo>
                    <a:pt x="2817066" y="204328"/>
                  </a:lnTo>
                  <a:lnTo>
                    <a:pt x="2817066" y="159377"/>
                  </a:lnTo>
                  <a:lnTo>
                    <a:pt x="2801129" y="159377"/>
                  </a:lnTo>
                  <a:lnTo>
                    <a:pt x="2783592" y="154055"/>
                  </a:lnTo>
                  <a:lnTo>
                    <a:pt x="2775597" y="140464"/>
                  </a:lnTo>
                  <a:lnTo>
                    <a:pt x="2774711" y="122165"/>
                  </a:lnTo>
                  <a:lnTo>
                    <a:pt x="2778501" y="102719"/>
                  </a:lnTo>
                  <a:lnTo>
                    <a:pt x="2784218" y="87243"/>
                  </a:lnTo>
                  <a:lnTo>
                    <a:pt x="2792467" y="72309"/>
                  </a:lnTo>
                  <a:lnTo>
                    <a:pt x="2803374" y="59640"/>
                  </a:lnTo>
                  <a:lnTo>
                    <a:pt x="2817066" y="50961"/>
                  </a:lnTo>
                  <a:lnTo>
                    <a:pt x="2817066" y="3172"/>
                  </a:lnTo>
                  <a:close/>
                </a:path>
                <a:path w="2926080" h="342265">
                  <a:moveTo>
                    <a:pt x="2921568" y="48176"/>
                  </a:moveTo>
                  <a:lnTo>
                    <a:pt x="2832322" y="48176"/>
                  </a:lnTo>
                  <a:lnTo>
                    <a:pt x="2849221" y="52599"/>
                  </a:lnTo>
                  <a:lnTo>
                    <a:pt x="2857860" y="65066"/>
                  </a:lnTo>
                  <a:lnTo>
                    <a:pt x="2849612" y="120984"/>
                  </a:lnTo>
                  <a:lnTo>
                    <a:pt x="2817066" y="156539"/>
                  </a:lnTo>
                  <a:lnTo>
                    <a:pt x="2817066" y="204328"/>
                  </a:lnTo>
                  <a:lnTo>
                    <a:pt x="2880531" y="170408"/>
                  </a:lnTo>
                  <a:lnTo>
                    <a:pt x="2904496" y="140570"/>
                  </a:lnTo>
                  <a:lnTo>
                    <a:pt x="2920853" y="102719"/>
                  </a:lnTo>
                  <a:lnTo>
                    <a:pt x="2925471" y="76154"/>
                  </a:lnTo>
                  <a:lnTo>
                    <a:pt x="2925372" y="65066"/>
                  </a:lnTo>
                  <a:lnTo>
                    <a:pt x="2921568" y="48176"/>
                  </a:lnTo>
                  <a:close/>
                </a:path>
                <a:path w="2926080" h="342265">
                  <a:moveTo>
                    <a:pt x="2817066" y="156539"/>
                  </a:moveTo>
                  <a:lnTo>
                    <a:pt x="2812092" y="158340"/>
                  </a:lnTo>
                  <a:lnTo>
                    <a:pt x="2806783" y="159377"/>
                  </a:lnTo>
                  <a:lnTo>
                    <a:pt x="2817066" y="159377"/>
                  </a:lnTo>
                  <a:lnTo>
                    <a:pt x="2817066" y="156539"/>
                  </a:lnTo>
                  <a:close/>
                </a:path>
                <a:path w="2926080" h="342265">
                  <a:moveTo>
                    <a:pt x="2846489" y="0"/>
                  </a:moveTo>
                  <a:lnTo>
                    <a:pt x="2839047" y="195"/>
                  </a:lnTo>
                  <a:lnTo>
                    <a:pt x="2831636" y="785"/>
                  </a:lnTo>
                  <a:lnTo>
                    <a:pt x="2824296" y="1775"/>
                  </a:lnTo>
                  <a:lnTo>
                    <a:pt x="2817066" y="3172"/>
                  </a:lnTo>
                  <a:lnTo>
                    <a:pt x="2817066" y="50961"/>
                  </a:lnTo>
                  <a:lnTo>
                    <a:pt x="2821641" y="49202"/>
                  </a:lnTo>
                  <a:lnTo>
                    <a:pt x="2826615" y="48176"/>
                  </a:lnTo>
                  <a:lnTo>
                    <a:pt x="2921568" y="48176"/>
                  </a:lnTo>
                  <a:lnTo>
                    <a:pt x="2919704" y="39897"/>
                  </a:lnTo>
                  <a:lnTo>
                    <a:pt x="2905106" y="19088"/>
                  </a:lnTo>
                  <a:lnTo>
                    <a:pt x="2880945" y="5111"/>
                  </a:lnTo>
                  <a:lnTo>
                    <a:pt x="2846489" y="0"/>
                  </a:lnTo>
                  <a:close/>
                </a:path>
                <a:path w="2926080" h="342265">
                  <a:moveTo>
                    <a:pt x="533763" y="3957"/>
                  </a:moveTo>
                  <a:lnTo>
                    <a:pt x="0" y="3957"/>
                  </a:lnTo>
                  <a:lnTo>
                    <a:pt x="0" y="342188"/>
                  </a:lnTo>
                  <a:lnTo>
                    <a:pt x="533763" y="342188"/>
                  </a:lnTo>
                  <a:lnTo>
                    <a:pt x="533763" y="3957"/>
                  </a:lnTo>
                  <a:close/>
                </a:path>
              </a:pathLst>
            </a:custGeom>
            <a:solidFill>
              <a:srgbClr val="00814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2" name="object 116">
              <a:extLst>
                <a:ext uri="{FF2B5EF4-FFF2-40B4-BE49-F238E27FC236}">
                  <a16:creationId xmlns:a16="http://schemas.microsoft.com/office/drawing/2014/main" id="{EC3795CA-B62F-47AF-17DB-AEF561A05BB2}"/>
                </a:ext>
              </a:extLst>
            </p:cNvPr>
            <p:cNvSpPr/>
            <p:nvPr/>
          </p:nvSpPr>
          <p:spPr>
            <a:xfrm>
              <a:off x="16766546" y="10371568"/>
              <a:ext cx="534035" cy="129539"/>
            </a:xfrm>
            <a:custGeom>
              <a:avLst/>
              <a:gdLst/>
              <a:ahLst/>
              <a:cxnLst/>
              <a:rect l="l" t="t" r="r" b="b"/>
              <a:pathLst>
                <a:path w="534034" h="129540">
                  <a:moveTo>
                    <a:pt x="533763" y="0"/>
                  </a:moveTo>
                  <a:lnTo>
                    <a:pt x="0" y="0"/>
                  </a:lnTo>
                  <a:lnTo>
                    <a:pt x="0" y="129325"/>
                  </a:lnTo>
                  <a:lnTo>
                    <a:pt x="533763" y="129325"/>
                  </a:lnTo>
                  <a:lnTo>
                    <a:pt x="533763" y="0"/>
                  </a:lnTo>
                  <a:close/>
                </a:path>
              </a:pathLst>
            </a:custGeom>
            <a:solidFill>
              <a:srgbClr val="FDC42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4" name="object 117">
              <a:extLst>
                <a:ext uri="{FF2B5EF4-FFF2-40B4-BE49-F238E27FC236}">
                  <a16:creationId xmlns:a16="http://schemas.microsoft.com/office/drawing/2014/main" id="{477DE825-7C82-F47C-5FD2-A3AC353E045B}"/>
                </a:ext>
              </a:extLst>
            </p:cNvPr>
            <p:cNvSpPr/>
            <p:nvPr/>
          </p:nvSpPr>
          <p:spPr>
            <a:xfrm>
              <a:off x="16766445" y="10500818"/>
              <a:ext cx="534035" cy="264160"/>
            </a:xfrm>
            <a:custGeom>
              <a:avLst/>
              <a:gdLst/>
              <a:ahLst/>
              <a:cxnLst/>
              <a:rect l="l" t="t" r="r" b="b"/>
              <a:pathLst>
                <a:path w="534034" h="264159">
                  <a:moveTo>
                    <a:pt x="450292" y="187219"/>
                  </a:moveTo>
                  <a:lnTo>
                    <a:pt x="377108" y="187219"/>
                  </a:lnTo>
                  <a:lnTo>
                    <a:pt x="390664" y="189651"/>
                  </a:lnTo>
                  <a:lnTo>
                    <a:pt x="397101" y="195484"/>
                  </a:lnTo>
                  <a:lnTo>
                    <a:pt x="399147" y="202525"/>
                  </a:lnTo>
                  <a:lnTo>
                    <a:pt x="399539" y="208939"/>
                  </a:lnTo>
                  <a:lnTo>
                    <a:pt x="401411" y="263594"/>
                  </a:lnTo>
                  <a:lnTo>
                    <a:pt x="455085" y="263552"/>
                  </a:lnTo>
                  <a:lnTo>
                    <a:pt x="452436" y="197334"/>
                  </a:lnTo>
                  <a:lnTo>
                    <a:pt x="450292" y="187219"/>
                  </a:lnTo>
                  <a:close/>
                </a:path>
                <a:path w="534034" h="264159">
                  <a:moveTo>
                    <a:pt x="422489" y="64689"/>
                  </a:moveTo>
                  <a:lnTo>
                    <a:pt x="322262" y="64689"/>
                  </a:lnTo>
                  <a:lnTo>
                    <a:pt x="265175" y="262002"/>
                  </a:lnTo>
                  <a:lnTo>
                    <a:pt x="322953" y="262002"/>
                  </a:lnTo>
                  <a:lnTo>
                    <a:pt x="344073" y="187219"/>
                  </a:lnTo>
                  <a:lnTo>
                    <a:pt x="450292" y="187219"/>
                  </a:lnTo>
                  <a:lnTo>
                    <a:pt x="450248" y="187014"/>
                  </a:lnTo>
                  <a:lnTo>
                    <a:pt x="445457" y="179838"/>
                  </a:lnTo>
                  <a:lnTo>
                    <a:pt x="439119" y="175649"/>
                  </a:lnTo>
                  <a:lnTo>
                    <a:pt x="432290" y="174287"/>
                  </a:lnTo>
                  <a:lnTo>
                    <a:pt x="444656" y="169031"/>
                  </a:lnTo>
                  <a:lnTo>
                    <a:pt x="455538" y="161196"/>
                  </a:lnTo>
                  <a:lnTo>
                    <a:pt x="464319" y="152345"/>
                  </a:lnTo>
                  <a:lnTo>
                    <a:pt x="467089" y="148550"/>
                  </a:lnTo>
                  <a:lnTo>
                    <a:pt x="355025" y="148550"/>
                  </a:lnTo>
                  <a:lnTo>
                    <a:pt x="367203" y="104394"/>
                  </a:lnTo>
                  <a:lnTo>
                    <a:pt x="477533" y="104394"/>
                  </a:lnTo>
                  <a:lnTo>
                    <a:pt x="475650" y="95892"/>
                  </a:lnTo>
                  <a:lnTo>
                    <a:pt x="465661" y="79905"/>
                  </a:lnTo>
                  <a:lnTo>
                    <a:pt x="452026" y="70497"/>
                  </a:lnTo>
                  <a:lnTo>
                    <a:pt x="436914" y="65986"/>
                  </a:lnTo>
                  <a:lnTo>
                    <a:pt x="422489" y="64689"/>
                  </a:lnTo>
                  <a:close/>
                </a:path>
                <a:path w="534034" h="264159">
                  <a:moveTo>
                    <a:pt x="197554" y="64689"/>
                  </a:moveTo>
                  <a:lnTo>
                    <a:pt x="102740" y="64689"/>
                  </a:lnTo>
                  <a:lnTo>
                    <a:pt x="45862" y="261583"/>
                  </a:lnTo>
                  <a:lnTo>
                    <a:pt x="162372" y="261583"/>
                  </a:lnTo>
                  <a:lnTo>
                    <a:pt x="193085" y="259611"/>
                  </a:lnTo>
                  <a:lnTo>
                    <a:pt x="231804" y="241217"/>
                  </a:lnTo>
                  <a:lnTo>
                    <a:pt x="244382" y="221029"/>
                  </a:lnTo>
                  <a:lnTo>
                    <a:pt x="114917" y="221029"/>
                  </a:lnTo>
                  <a:lnTo>
                    <a:pt x="127210" y="178486"/>
                  </a:lnTo>
                  <a:lnTo>
                    <a:pt x="244256" y="178486"/>
                  </a:lnTo>
                  <a:lnTo>
                    <a:pt x="242212" y="174402"/>
                  </a:lnTo>
                  <a:lnTo>
                    <a:pt x="236392" y="167566"/>
                  </a:lnTo>
                  <a:lnTo>
                    <a:pt x="231130" y="163183"/>
                  </a:lnTo>
                  <a:lnTo>
                    <a:pt x="228275" y="161481"/>
                  </a:lnTo>
                  <a:lnTo>
                    <a:pt x="238829" y="154716"/>
                  </a:lnTo>
                  <a:lnTo>
                    <a:pt x="246786" y="146769"/>
                  </a:lnTo>
                  <a:lnTo>
                    <a:pt x="251334" y="140644"/>
                  </a:lnTo>
                  <a:lnTo>
                    <a:pt x="138027" y="140644"/>
                  </a:lnTo>
                  <a:lnTo>
                    <a:pt x="148246" y="104143"/>
                  </a:lnTo>
                  <a:lnTo>
                    <a:pt x="258753" y="104143"/>
                  </a:lnTo>
                  <a:lnTo>
                    <a:pt x="257796" y="97699"/>
                  </a:lnTo>
                  <a:lnTo>
                    <a:pt x="250212" y="83788"/>
                  </a:lnTo>
                  <a:lnTo>
                    <a:pt x="239272" y="74635"/>
                  </a:lnTo>
                  <a:lnTo>
                    <a:pt x="225736" y="68839"/>
                  </a:lnTo>
                  <a:lnTo>
                    <a:pt x="211274" y="65742"/>
                  </a:lnTo>
                  <a:lnTo>
                    <a:pt x="197554" y="64689"/>
                  </a:lnTo>
                  <a:close/>
                </a:path>
                <a:path w="534034" h="264159">
                  <a:moveTo>
                    <a:pt x="244256" y="178486"/>
                  </a:moveTo>
                  <a:lnTo>
                    <a:pt x="184538" y="178486"/>
                  </a:lnTo>
                  <a:lnTo>
                    <a:pt x="185606" y="183627"/>
                  </a:lnTo>
                  <a:lnTo>
                    <a:pt x="188214" y="187994"/>
                  </a:lnTo>
                  <a:lnTo>
                    <a:pt x="190790" y="192360"/>
                  </a:lnTo>
                  <a:lnTo>
                    <a:pt x="189596" y="201533"/>
                  </a:lnTo>
                  <a:lnTo>
                    <a:pt x="187826" y="204695"/>
                  </a:lnTo>
                  <a:lnTo>
                    <a:pt x="185548" y="208939"/>
                  </a:lnTo>
                  <a:lnTo>
                    <a:pt x="180935" y="214366"/>
                  </a:lnTo>
                  <a:lnTo>
                    <a:pt x="172228" y="219041"/>
                  </a:lnTo>
                  <a:lnTo>
                    <a:pt x="157670" y="221029"/>
                  </a:lnTo>
                  <a:lnTo>
                    <a:pt x="244382" y="221029"/>
                  </a:lnTo>
                  <a:lnTo>
                    <a:pt x="246728" y="215158"/>
                  </a:lnTo>
                  <a:lnTo>
                    <a:pt x="248941" y="198884"/>
                  </a:lnTo>
                  <a:lnTo>
                    <a:pt x="246746" y="183460"/>
                  </a:lnTo>
                  <a:lnTo>
                    <a:pt x="244256" y="178486"/>
                  </a:lnTo>
                  <a:close/>
                </a:path>
                <a:path w="534034" h="264159">
                  <a:moveTo>
                    <a:pt x="477533" y="104394"/>
                  </a:moveTo>
                  <a:lnTo>
                    <a:pt x="409202" y="104394"/>
                  </a:lnTo>
                  <a:lnTo>
                    <a:pt x="420873" y="106570"/>
                  </a:lnTo>
                  <a:lnTo>
                    <a:pt x="427070" y="111647"/>
                  </a:lnTo>
                  <a:lnTo>
                    <a:pt x="429522" y="117448"/>
                  </a:lnTo>
                  <a:lnTo>
                    <a:pt x="429955" y="121797"/>
                  </a:lnTo>
                  <a:lnTo>
                    <a:pt x="428341" y="129758"/>
                  </a:lnTo>
                  <a:lnTo>
                    <a:pt x="422972" y="138535"/>
                  </a:lnTo>
                  <a:lnTo>
                    <a:pt x="413058" y="145630"/>
                  </a:lnTo>
                  <a:lnTo>
                    <a:pt x="397809" y="148550"/>
                  </a:lnTo>
                  <a:lnTo>
                    <a:pt x="467089" y="148550"/>
                  </a:lnTo>
                  <a:lnTo>
                    <a:pt x="470383" y="144037"/>
                  </a:lnTo>
                  <a:lnTo>
                    <a:pt x="475068" y="134205"/>
                  </a:lnTo>
                  <a:lnTo>
                    <a:pt x="478149" y="122477"/>
                  </a:lnTo>
                  <a:lnTo>
                    <a:pt x="478663" y="109493"/>
                  </a:lnTo>
                  <a:lnTo>
                    <a:pt x="477533" y="104394"/>
                  </a:lnTo>
                  <a:close/>
                </a:path>
                <a:path w="534034" h="264159">
                  <a:moveTo>
                    <a:pt x="258753" y="104143"/>
                  </a:moveTo>
                  <a:lnTo>
                    <a:pt x="201595" y="104143"/>
                  </a:lnTo>
                  <a:lnTo>
                    <a:pt x="209637" y="109808"/>
                  </a:lnTo>
                  <a:lnTo>
                    <a:pt x="209637" y="119211"/>
                  </a:lnTo>
                  <a:lnTo>
                    <a:pt x="207849" y="127865"/>
                  </a:lnTo>
                  <a:lnTo>
                    <a:pt x="202869" y="134643"/>
                  </a:lnTo>
                  <a:lnTo>
                    <a:pt x="195276" y="139064"/>
                  </a:lnTo>
                  <a:lnTo>
                    <a:pt x="185648" y="140644"/>
                  </a:lnTo>
                  <a:lnTo>
                    <a:pt x="251334" y="140644"/>
                  </a:lnTo>
                  <a:lnTo>
                    <a:pt x="252001" y="139746"/>
                  </a:lnTo>
                  <a:lnTo>
                    <a:pt x="254327" y="135755"/>
                  </a:lnTo>
                  <a:lnTo>
                    <a:pt x="258193" y="125006"/>
                  </a:lnTo>
                  <a:lnTo>
                    <a:pt x="259903" y="111880"/>
                  </a:lnTo>
                  <a:lnTo>
                    <a:pt x="258753" y="104143"/>
                  </a:lnTo>
                  <a:close/>
                </a:path>
                <a:path w="534034" h="264159">
                  <a:moveTo>
                    <a:pt x="533868" y="0"/>
                  </a:moveTo>
                  <a:lnTo>
                    <a:pt x="0" y="0"/>
                  </a:lnTo>
                  <a:lnTo>
                    <a:pt x="0" y="64689"/>
                  </a:lnTo>
                  <a:lnTo>
                    <a:pt x="533868" y="64689"/>
                  </a:lnTo>
                  <a:lnTo>
                    <a:pt x="533868"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sp>
        <p:nvSpPr>
          <p:cNvPr id="2" name="Elipse 1">
            <a:extLst>
              <a:ext uri="{FF2B5EF4-FFF2-40B4-BE49-F238E27FC236}">
                <a16:creationId xmlns:a16="http://schemas.microsoft.com/office/drawing/2014/main" id="{D88B1466-D03B-43C7-FBF9-595C947EE4CF}"/>
              </a:ext>
            </a:extLst>
          </p:cNvPr>
          <p:cNvSpPr/>
          <p:nvPr/>
        </p:nvSpPr>
        <p:spPr>
          <a:xfrm>
            <a:off x="11685200" y="6374990"/>
            <a:ext cx="398310" cy="398207"/>
          </a:xfrm>
          <a:prstGeom prst="ellipse">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800" b="1" dirty="0">
                <a:solidFill>
                  <a:srgbClr val="006199"/>
                </a:solidFill>
              </a:rPr>
              <a:t>P</a:t>
            </a:r>
          </a:p>
        </p:txBody>
      </p:sp>
      <p:sp>
        <p:nvSpPr>
          <p:cNvPr id="44" name="Retângulo 43">
            <a:extLst>
              <a:ext uri="{FF2B5EF4-FFF2-40B4-BE49-F238E27FC236}">
                <a16:creationId xmlns:a16="http://schemas.microsoft.com/office/drawing/2014/main" id="{A929D431-7151-2362-571D-1C02FBAC5C8C}"/>
              </a:ext>
            </a:extLst>
          </p:cNvPr>
          <p:cNvSpPr/>
          <p:nvPr/>
        </p:nvSpPr>
        <p:spPr>
          <a:xfrm>
            <a:off x="153943" y="2536166"/>
            <a:ext cx="3625083" cy="3387612"/>
          </a:xfrm>
          <a:prstGeom prst="rect">
            <a:avLst/>
          </a:prstGeom>
          <a:solidFill>
            <a:srgbClr val="008542">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5" name="Rectangle 260">
            <a:extLst>
              <a:ext uri="{FF2B5EF4-FFF2-40B4-BE49-F238E27FC236}">
                <a16:creationId xmlns:a16="http://schemas.microsoft.com/office/drawing/2014/main" id="{3EE4B8CA-9E25-8669-F7E6-EAB27A0AA923}"/>
              </a:ext>
            </a:extLst>
          </p:cNvPr>
          <p:cNvSpPr/>
          <p:nvPr/>
        </p:nvSpPr>
        <p:spPr>
          <a:xfrm>
            <a:off x="12141492" y="2981451"/>
            <a:ext cx="165909" cy="16662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95690" rtl="0" eaLnBrk="1" fontAlgn="auto" latinLnBrk="0" hangingPunct="1">
              <a:lnSpc>
                <a:spcPct val="100000"/>
              </a:lnSpc>
              <a:spcBef>
                <a:spcPts val="0"/>
              </a:spcBef>
              <a:spcAft>
                <a:spcPts val="0"/>
              </a:spcAft>
              <a:buClrTx/>
              <a:buSzTx/>
              <a:buFontTx/>
              <a:buNone/>
              <a:tabLst/>
              <a:defRPr/>
            </a:pPr>
            <a:endParaRPr kumimoji="0" lang="pt-BR" sz="1050" b="0" i="0" u="none" strike="noStrike" kern="1200" cap="none" spc="0" normalizeH="0" baseline="0" noProof="0">
              <a:ln>
                <a:noFill/>
              </a:ln>
              <a:solidFill>
                <a:prstClr val="white"/>
              </a:solidFill>
              <a:effectLst/>
              <a:uLnTx/>
              <a:uFillTx/>
              <a:latin typeface="Trebuchet MS" panose="020B0603020202020204" pitchFamily="34" charset="0"/>
              <a:ea typeface="+mn-ea"/>
              <a:cs typeface="+mn-cs"/>
            </a:endParaRPr>
          </a:p>
        </p:txBody>
      </p:sp>
      <p:grpSp>
        <p:nvGrpSpPr>
          <p:cNvPr id="46" name="Agrupar 45">
            <a:extLst>
              <a:ext uri="{FF2B5EF4-FFF2-40B4-BE49-F238E27FC236}">
                <a16:creationId xmlns:a16="http://schemas.microsoft.com/office/drawing/2014/main" id="{C57676A7-5DD4-C236-1F0C-DAFF451DF5BF}"/>
              </a:ext>
            </a:extLst>
          </p:cNvPr>
          <p:cNvGrpSpPr/>
          <p:nvPr/>
        </p:nvGrpSpPr>
        <p:grpSpPr>
          <a:xfrm>
            <a:off x="179026" y="2657406"/>
            <a:ext cx="3600000" cy="4049942"/>
            <a:chOff x="150298" y="3326006"/>
            <a:chExt cx="3600000" cy="3365382"/>
          </a:xfrm>
        </p:grpSpPr>
        <p:sp>
          <p:nvSpPr>
            <p:cNvPr id="47" name="Oval 14">
              <a:extLst>
                <a:ext uri="{FF2B5EF4-FFF2-40B4-BE49-F238E27FC236}">
                  <a16:creationId xmlns:a16="http://schemas.microsoft.com/office/drawing/2014/main" id="{88DE872C-218A-57EF-EF56-327BD03828CD}"/>
                </a:ext>
              </a:extLst>
            </p:cNvPr>
            <p:cNvSpPr/>
            <p:nvPr/>
          </p:nvSpPr>
          <p:spPr>
            <a:xfrm>
              <a:off x="1563784" y="6322461"/>
              <a:ext cx="692682" cy="368927"/>
            </a:xfrm>
            <a:prstGeom prst="ellipse">
              <a:avLst/>
            </a:prstGeom>
            <a:solidFill>
              <a:srgbClr val="70AD47"/>
            </a:solidFill>
            <a:ln w="381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0" name="Rectangle: Rounded Corners 20">
              <a:extLst>
                <a:ext uri="{FF2B5EF4-FFF2-40B4-BE49-F238E27FC236}">
                  <a16:creationId xmlns:a16="http://schemas.microsoft.com/office/drawing/2014/main" id="{6AB416BB-05E7-3594-0C65-51A1CFD550C9}"/>
                </a:ext>
              </a:extLst>
            </p:cNvPr>
            <p:cNvSpPr/>
            <p:nvPr/>
          </p:nvSpPr>
          <p:spPr>
            <a:xfrm>
              <a:off x="1871135" y="6016052"/>
              <a:ext cx="102557" cy="522857"/>
            </a:xfrm>
            <a:prstGeom prst="roundRect">
              <a:avLst>
                <a:gd name="adj" fmla="val 50000"/>
              </a:avLst>
            </a:prstGeom>
            <a:solidFill>
              <a:srgbClr val="70AD47">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1" name="Rectangle 22">
              <a:extLst>
                <a:ext uri="{FF2B5EF4-FFF2-40B4-BE49-F238E27FC236}">
                  <a16:creationId xmlns:a16="http://schemas.microsoft.com/office/drawing/2014/main" id="{D53260D8-E9A6-0E35-BC62-8C378A339E13}"/>
                </a:ext>
              </a:extLst>
            </p:cNvPr>
            <p:cNvSpPr/>
            <p:nvPr/>
          </p:nvSpPr>
          <p:spPr>
            <a:xfrm>
              <a:off x="150298" y="3731429"/>
              <a:ext cx="3600000" cy="88983"/>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2" name="TextBox 24">
              <a:extLst>
                <a:ext uri="{FF2B5EF4-FFF2-40B4-BE49-F238E27FC236}">
                  <a16:creationId xmlns:a16="http://schemas.microsoft.com/office/drawing/2014/main" id="{19F6A7DE-7E74-39A3-7037-11E8FB4BF2D7}"/>
                </a:ext>
              </a:extLst>
            </p:cNvPr>
            <p:cNvSpPr txBox="1"/>
            <p:nvPr/>
          </p:nvSpPr>
          <p:spPr>
            <a:xfrm>
              <a:off x="150298" y="3820411"/>
              <a:ext cx="3551345" cy="2228560"/>
            </a:xfrm>
            <a:prstGeom prst="rect">
              <a:avLst/>
            </a:prstGeom>
            <a:solidFill>
              <a:srgbClr val="E5F3EC"/>
            </a:solidFill>
          </p:spPr>
          <p:txBody>
            <a:bodyPr wrap="square" rtlCol="0">
              <a:spAutoFit/>
            </a:bodyPr>
            <a:lstStyle/>
            <a:p>
              <a:pPr marL="0" marR="0" lvl="0" indent="0" defTabSz="914400" eaLnBrk="1" fontAlgn="auto" latinLnBrk="0" hangingPunct="1">
                <a:lnSpc>
                  <a:spcPct val="150000"/>
                </a:lnSpc>
                <a:spcBef>
                  <a:spcPts val="0"/>
                </a:spcBef>
                <a:spcAft>
                  <a:spcPts val="0"/>
                </a:spcAft>
                <a:buClrTx/>
                <a:buSzTx/>
                <a:buFontTx/>
                <a:buNone/>
                <a:tabLst/>
                <a:defRPr/>
              </a:pPr>
              <a:r>
                <a:rPr kumimoji="0" lang="pt-BR" sz="1400" b="0" i="0" u="none" strike="noStrike" kern="0" cap="none" spc="0" normalizeH="0" baseline="0" noProof="0" dirty="0">
                  <a:ln>
                    <a:noFill/>
                  </a:ln>
                  <a:solidFill>
                    <a:prstClr val="black"/>
                  </a:solidFill>
                  <a:effectLst/>
                  <a:uLnTx/>
                  <a:uFillTx/>
                </a:rPr>
                <a:t>High Performance AFS</a:t>
              </a:r>
            </a:p>
            <a:p>
              <a:pPr marL="0" marR="0" lvl="0" indent="0" defTabSz="914400" eaLnBrk="1" fontAlgn="auto" latinLnBrk="0" hangingPunct="1">
                <a:lnSpc>
                  <a:spcPct val="150000"/>
                </a:lnSpc>
                <a:spcBef>
                  <a:spcPts val="0"/>
                </a:spcBef>
                <a:spcAft>
                  <a:spcPts val="0"/>
                </a:spcAft>
                <a:buClrTx/>
                <a:buSzTx/>
                <a:buFontTx/>
                <a:buNone/>
                <a:tabLst/>
                <a:defRPr/>
              </a:pPr>
              <a:r>
                <a:rPr kumimoji="0" lang="pt-BR" sz="1400" b="0" i="0" u="none" strike="noStrike" kern="0" cap="none" spc="0" normalizeH="0" baseline="0" noProof="0" dirty="0">
                  <a:ln>
                    <a:noFill/>
                  </a:ln>
                  <a:solidFill>
                    <a:prstClr val="black"/>
                  </a:solidFill>
                  <a:effectLst/>
                  <a:uLnTx/>
                  <a:uFillTx/>
                </a:rPr>
                <a:t>ROV Hull </a:t>
              </a:r>
              <a:r>
                <a:rPr kumimoji="0" lang="pt-BR" sz="1400" b="0" i="0" u="none" strike="noStrike" kern="0" cap="none" spc="0" normalizeH="0" baseline="0" noProof="0" dirty="0" err="1">
                  <a:ln>
                    <a:noFill/>
                  </a:ln>
                  <a:solidFill>
                    <a:prstClr val="black"/>
                  </a:solidFill>
                  <a:effectLst/>
                  <a:uLnTx/>
                  <a:uFillTx/>
                </a:rPr>
                <a:t>Cleaning</a:t>
              </a:r>
              <a:endParaRPr kumimoji="0" lang="pt-BR" sz="1400" b="0" i="0" u="none" strike="noStrike" kern="0" cap="none" spc="0" normalizeH="0" baseline="0" noProof="0" dirty="0">
                <a:ln>
                  <a:noFill/>
                </a:ln>
                <a:solidFill>
                  <a:prstClr val="black"/>
                </a:solidFill>
                <a:effectLst/>
                <a:uLnTx/>
                <a:uFillTx/>
              </a:endParaRPr>
            </a:p>
            <a:p>
              <a:pPr marL="0" marR="0" lvl="0" indent="0" defTabSz="914400" eaLnBrk="1" fontAlgn="auto" latinLnBrk="0" hangingPunct="1">
                <a:lnSpc>
                  <a:spcPct val="150000"/>
                </a:lnSpc>
                <a:spcBef>
                  <a:spcPts val="0"/>
                </a:spcBef>
                <a:spcAft>
                  <a:spcPts val="0"/>
                </a:spcAft>
                <a:buClrTx/>
                <a:buSzTx/>
                <a:buFontTx/>
                <a:buNone/>
                <a:tabLst/>
                <a:defRPr/>
              </a:pPr>
              <a:r>
                <a:rPr kumimoji="0" lang="pt-BR" sz="1400" b="0" i="0" u="none" strike="noStrike" kern="0" cap="none" spc="0" normalizeH="0" baseline="0" noProof="0" dirty="0">
                  <a:ln>
                    <a:noFill/>
                  </a:ln>
                  <a:solidFill>
                    <a:prstClr val="black"/>
                  </a:solidFill>
                  <a:effectLst/>
                  <a:uLnTx/>
                  <a:uFillTx/>
                </a:rPr>
                <a:t>Energy </a:t>
              </a:r>
              <a:r>
                <a:rPr kumimoji="0" lang="pt-BR" sz="1400" b="0" i="0" u="none" strike="noStrike" kern="0" cap="none" spc="0" normalizeH="0" baseline="0" noProof="0" dirty="0" err="1">
                  <a:ln>
                    <a:noFill/>
                  </a:ln>
                  <a:solidFill>
                    <a:prstClr val="black"/>
                  </a:solidFill>
                  <a:effectLst/>
                  <a:uLnTx/>
                  <a:uFillTx/>
                </a:rPr>
                <a:t>Saving</a:t>
              </a:r>
              <a:r>
                <a:rPr kumimoji="0" lang="pt-BR" sz="1400" b="0" i="0" u="none" strike="noStrike" kern="0" cap="none" spc="0" normalizeH="0" baseline="0" noProof="0" dirty="0">
                  <a:ln>
                    <a:noFill/>
                  </a:ln>
                  <a:solidFill>
                    <a:prstClr val="black"/>
                  </a:solidFill>
                  <a:effectLst/>
                  <a:uLnTx/>
                  <a:uFillTx/>
                </a:rPr>
                <a:t> </a:t>
              </a:r>
              <a:r>
                <a:rPr kumimoji="0" lang="pt-BR" sz="1400" b="0" i="0" u="none" strike="noStrike" kern="0" cap="none" spc="0" normalizeH="0" baseline="0" noProof="0" dirty="0" err="1">
                  <a:ln>
                    <a:noFill/>
                  </a:ln>
                  <a:solidFill>
                    <a:prstClr val="black"/>
                  </a:solidFill>
                  <a:effectLst/>
                  <a:uLnTx/>
                  <a:uFillTx/>
                </a:rPr>
                <a:t>Devices</a:t>
              </a:r>
              <a:r>
                <a:rPr kumimoji="0" lang="pt-BR" sz="1400" b="0" i="0" u="none" strike="noStrike" kern="0" cap="none" spc="0" normalizeH="0" baseline="0" noProof="0" dirty="0">
                  <a:ln>
                    <a:noFill/>
                  </a:ln>
                  <a:solidFill>
                    <a:prstClr val="black"/>
                  </a:solidFill>
                  <a:effectLst/>
                  <a:uLnTx/>
                  <a:uFillTx/>
                </a:rPr>
                <a:t> (ESD)</a:t>
              </a:r>
              <a:endParaRPr kumimoji="0" lang="pt-BR" sz="1400" b="0" i="0" u="none" strike="noStrike" kern="0" cap="none" spc="0" normalizeH="0" baseline="0" noProof="0" dirty="0">
                <a:ln>
                  <a:noFill/>
                </a:ln>
                <a:solidFill>
                  <a:srgbClr val="FF0000"/>
                </a:solidFill>
                <a:effectLst/>
                <a:uLnTx/>
                <a:uFillTx/>
              </a:endParaRPr>
            </a:p>
            <a:p>
              <a:pPr marL="0" marR="0" lvl="0" indent="0" defTabSz="914400" eaLnBrk="1" fontAlgn="auto" latinLnBrk="0" hangingPunct="1">
                <a:lnSpc>
                  <a:spcPct val="150000"/>
                </a:lnSpc>
                <a:spcBef>
                  <a:spcPts val="0"/>
                </a:spcBef>
                <a:spcAft>
                  <a:spcPts val="0"/>
                </a:spcAft>
                <a:buClrTx/>
                <a:buSzTx/>
                <a:buFontTx/>
                <a:buNone/>
                <a:tabLst/>
                <a:defRPr/>
              </a:pPr>
              <a:r>
                <a:rPr kumimoji="0" lang="pt-BR" sz="1400" b="0" i="0" u="none" strike="noStrike" kern="0" cap="none" spc="0" normalizeH="0" baseline="0" noProof="0" dirty="0" err="1">
                  <a:ln>
                    <a:noFill/>
                  </a:ln>
                  <a:solidFill>
                    <a:prstClr val="black"/>
                  </a:solidFill>
                  <a:effectLst/>
                  <a:uLnTx/>
                  <a:uFillTx/>
                </a:rPr>
                <a:t>Route</a:t>
              </a:r>
              <a:r>
                <a:rPr kumimoji="0" lang="pt-BR" sz="1400" b="0" i="0" u="none" strike="noStrike" kern="0" cap="none" spc="0" normalizeH="0" baseline="0" noProof="0" dirty="0">
                  <a:ln>
                    <a:noFill/>
                  </a:ln>
                  <a:solidFill>
                    <a:prstClr val="black"/>
                  </a:solidFill>
                  <a:effectLst/>
                  <a:uLnTx/>
                  <a:uFillTx/>
                </a:rPr>
                <a:t> </a:t>
              </a:r>
              <a:r>
                <a:rPr kumimoji="0" lang="pt-BR" sz="1400" b="0" i="0" u="none" strike="noStrike" kern="0" cap="none" spc="0" normalizeH="0" baseline="0" noProof="0" dirty="0" err="1">
                  <a:ln>
                    <a:noFill/>
                  </a:ln>
                  <a:solidFill>
                    <a:prstClr val="black"/>
                  </a:solidFill>
                  <a:effectLst/>
                  <a:uLnTx/>
                  <a:uFillTx/>
                </a:rPr>
                <a:t>and</a:t>
              </a:r>
              <a:r>
                <a:rPr kumimoji="0" lang="pt-BR" sz="1400" b="0" i="0" u="none" strike="noStrike" kern="0" cap="none" spc="0" normalizeH="0" baseline="0" noProof="0" dirty="0">
                  <a:ln>
                    <a:noFill/>
                  </a:ln>
                  <a:solidFill>
                    <a:prstClr val="black"/>
                  </a:solidFill>
                  <a:effectLst/>
                  <a:uLnTx/>
                  <a:uFillTx/>
                </a:rPr>
                <a:t> </a:t>
              </a:r>
              <a:r>
                <a:rPr kumimoji="0" lang="pt-BR" sz="1400" b="0" i="0" u="none" strike="noStrike" kern="0" cap="none" spc="0" normalizeH="0" baseline="0" noProof="0" dirty="0" err="1">
                  <a:ln>
                    <a:noFill/>
                  </a:ln>
                  <a:solidFill>
                    <a:prstClr val="black"/>
                  </a:solidFill>
                  <a:effectLst/>
                  <a:uLnTx/>
                  <a:uFillTx/>
                </a:rPr>
                <a:t>Trim</a:t>
              </a:r>
              <a:r>
                <a:rPr kumimoji="0" lang="pt-BR" sz="1400" b="0" i="0" u="none" strike="noStrike" kern="0" cap="none" spc="0" normalizeH="0" baseline="0" noProof="0" dirty="0">
                  <a:ln>
                    <a:noFill/>
                  </a:ln>
                  <a:solidFill>
                    <a:prstClr val="black"/>
                  </a:solidFill>
                  <a:effectLst/>
                  <a:uLnTx/>
                  <a:uFillTx/>
                </a:rPr>
                <a:t> </a:t>
              </a:r>
              <a:r>
                <a:rPr kumimoji="0" lang="pt-BR" sz="1400" b="0" i="0" u="none" strike="noStrike" kern="0" cap="none" spc="0" normalizeH="0" baseline="0" noProof="0" dirty="0" err="1">
                  <a:ln>
                    <a:noFill/>
                  </a:ln>
                  <a:solidFill>
                    <a:prstClr val="black"/>
                  </a:solidFill>
                  <a:effectLst/>
                  <a:uLnTx/>
                  <a:uFillTx/>
                </a:rPr>
                <a:t>Optimization</a:t>
              </a:r>
              <a:endParaRPr kumimoji="0" lang="pt-BR" sz="1400" b="0" i="0" u="none" strike="noStrike" kern="0" cap="none" spc="0" normalizeH="0" baseline="0" noProof="0" dirty="0">
                <a:ln>
                  <a:noFill/>
                </a:ln>
                <a:solidFill>
                  <a:prstClr val="black"/>
                </a:solidFill>
                <a:effectLst/>
                <a:uLnTx/>
                <a:uFillTx/>
              </a:endParaRPr>
            </a:p>
            <a:p>
              <a:pPr marL="0" marR="0" lvl="0" indent="0" defTabSz="914400" eaLnBrk="1" fontAlgn="auto" latinLnBrk="0" hangingPunct="1">
                <a:lnSpc>
                  <a:spcPct val="150000"/>
                </a:lnSpc>
                <a:spcBef>
                  <a:spcPts val="0"/>
                </a:spcBef>
                <a:spcAft>
                  <a:spcPts val="0"/>
                </a:spcAft>
                <a:buClrTx/>
                <a:buSzTx/>
                <a:buFontTx/>
                <a:buNone/>
                <a:tabLst/>
                <a:defRPr/>
              </a:pPr>
              <a:r>
                <a:rPr kumimoji="0" lang="pt-BR" sz="1400" b="0" i="0" u="none" strike="noStrike" kern="0" cap="none" spc="0" normalizeH="0" baseline="0" noProof="0" dirty="0" err="1">
                  <a:ln>
                    <a:noFill/>
                  </a:ln>
                  <a:solidFill>
                    <a:prstClr val="black"/>
                  </a:solidFill>
                  <a:effectLst/>
                  <a:uLnTx/>
                  <a:uFillTx/>
                </a:rPr>
                <a:t>Main</a:t>
              </a:r>
              <a:r>
                <a:rPr kumimoji="0" lang="pt-BR" sz="1400" b="0" i="0" u="none" strike="noStrike" kern="0" cap="none" spc="0" normalizeH="0" baseline="0" noProof="0" dirty="0">
                  <a:ln>
                    <a:noFill/>
                  </a:ln>
                  <a:solidFill>
                    <a:prstClr val="black"/>
                  </a:solidFill>
                  <a:effectLst/>
                  <a:uLnTx/>
                  <a:uFillTx/>
                </a:rPr>
                <a:t> </a:t>
              </a:r>
              <a:r>
                <a:rPr kumimoji="0" lang="pt-BR" sz="1400" b="0" i="0" u="none" strike="noStrike" kern="0" cap="none" spc="0" normalizeH="0" baseline="0" noProof="0" dirty="0" err="1">
                  <a:ln>
                    <a:noFill/>
                  </a:ln>
                  <a:solidFill>
                    <a:prstClr val="black"/>
                  </a:solidFill>
                  <a:effectLst/>
                  <a:uLnTx/>
                  <a:uFillTx/>
                </a:rPr>
                <a:t>Engine</a:t>
              </a:r>
              <a:r>
                <a:rPr kumimoji="0" lang="pt-BR" sz="1400" b="0" i="0" u="none" strike="noStrike" kern="0" cap="none" spc="0" normalizeH="0" baseline="0" noProof="0" dirty="0">
                  <a:ln>
                    <a:noFill/>
                  </a:ln>
                  <a:solidFill>
                    <a:prstClr val="black"/>
                  </a:solidFill>
                  <a:effectLst/>
                  <a:uLnTx/>
                  <a:uFillTx/>
                </a:rPr>
                <a:t> Upgrades</a:t>
              </a:r>
            </a:p>
            <a:p>
              <a:pPr marL="0" marR="0" lvl="0" indent="0" defTabSz="914400" eaLnBrk="1" fontAlgn="auto" latinLnBrk="0" hangingPunct="1">
                <a:lnSpc>
                  <a:spcPct val="150000"/>
                </a:lnSpc>
                <a:spcBef>
                  <a:spcPts val="0"/>
                </a:spcBef>
                <a:spcAft>
                  <a:spcPts val="0"/>
                </a:spcAft>
                <a:buClrTx/>
                <a:buSzTx/>
                <a:buFontTx/>
                <a:buNone/>
                <a:tabLst/>
                <a:defRPr/>
              </a:pPr>
              <a:r>
                <a:rPr kumimoji="0" lang="pt-BR" sz="1400" b="0" i="0" u="none" strike="noStrike" kern="0" cap="none" spc="0" normalizeH="0" baseline="0" noProof="0" dirty="0" err="1">
                  <a:ln>
                    <a:noFill/>
                  </a:ln>
                  <a:solidFill>
                    <a:prstClr val="black"/>
                  </a:solidFill>
                  <a:effectLst/>
                  <a:uLnTx/>
                  <a:uFillTx/>
                </a:rPr>
                <a:t>Course</a:t>
              </a:r>
              <a:r>
                <a:rPr kumimoji="0" lang="pt-BR" sz="1400" b="0" i="0" u="none" strike="noStrike" kern="0" cap="none" spc="0" normalizeH="0" baseline="0" noProof="0" dirty="0">
                  <a:ln>
                    <a:noFill/>
                  </a:ln>
                  <a:solidFill>
                    <a:prstClr val="black"/>
                  </a:solidFill>
                  <a:effectLst/>
                  <a:uLnTx/>
                  <a:uFillTx/>
                </a:rPr>
                <a:t> </a:t>
              </a:r>
              <a:r>
                <a:rPr kumimoji="0" lang="pt-BR" sz="1400" b="0" i="0" u="none" strike="noStrike" kern="0" cap="none" spc="0" normalizeH="0" baseline="0" noProof="0" dirty="0" err="1">
                  <a:ln>
                    <a:noFill/>
                  </a:ln>
                  <a:solidFill>
                    <a:prstClr val="black"/>
                  </a:solidFill>
                  <a:effectLst/>
                  <a:uLnTx/>
                  <a:uFillTx/>
                </a:rPr>
                <a:t>and</a:t>
              </a:r>
              <a:r>
                <a:rPr kumimoji="0" lang="pt-BR" sz="1400" b="0" i="0" u="none" strike="noStrike" kern="0" cap="none" spc="0" normalizeH="0" baseline="0" noProof="0" dirty="0">
                  <a:ln>
                    <a:noFill/>
                  </a:ln>
                  <a:solidFill>
                    <a:prstClr val="black"/>
                  </a:solidFill>
                  <a:effectLst/>
                  <a:uLnTx/>
                  <a:uFillTx/>
                </a:rPr>
                <a:t> </a:t>
              </a:r>
              <a:r>
                <a:rPr kumimoji="0" lang="pt-BR" sz="1400" b="0" i="0" u="none" strike="noStrike" kern="0" cap="none" spc="0" normalizeH="0" baseline="0" noProof="0" dirty="0" err="1">
                  <a:ln>
                    <a:noFill/>
                  </a:ln>
                  <a:solidFill>
                    <a:prstClr val="black"/>
                  </a:solidFill>
                  <a:effectLst/>
                  <a:uLnTx/>
                  <a:uFillTx/>
                </a:rPr>
                <a:t>Speed</a:t>
              </a:r>
              <a:r>
                <a:rPr kumimoji="0" lang="pt-BR" sz="1400" b="0" i="0" u="none" strike="noStrike" kern="0" cap="none" spc="0" normalizeH="0" baseline="0" noProof="0" dirty="0">
                  <a:ln>
                    <a:noFill/>
                  </a:ln>
                  <a:solidFill>
                    <a:prstClr val="black"/>
                  </a:solidFill>
                  <a:effectLst/>
                  <a:uLnTx/>
                  <a:uFillTx/>
                </a:rPr>
                <a:t> </a:t>
              </a:r>
              <a:r>
                <a:rPr kumimoji="0" lang="pt-BR" sz="1400" b="0" i="0" u="none" strike="noStrike" kern="0" cap="none" spc="0" normalizeH="0" baseline="0" noProof="0" dirty="0" err="1">
                  <a:ln>
                    <a:noFill/>
                  </a:ln>
                  <a:solidFill>
                    <a:prstClr val="black"/>
                  </a:solidFill>
                  <a:effectLst/>
                  <a:uLnTx/>
                  <a:uFillTx/>
                </a:rPr>
                <a:t>Control</a:t>
              </a:r>
              <a:r>
                <a:rPr kumimoji="0" lang="pt-BR" sz="1400" b="0" i="0" u="none" strike="noStrike" kern="0" cap="none" spc="0" normalizeH="0" baseline="0" noProof="0" dirty="0">
                  <a:ln>
                    <a:noFill/>
                  </a:ln>
                  <a:solidFill>
                    <a:prstClr val="black"/>
                  </a:solidFill>
                  <a:effectLst/>
                  <a:uLnTx/>
                  <a:uFillTx/>
                </a:rPr>
                <a:t> Systems</a:t>
              </a:r>
            </a:p>
            <a:p>
              <a:pPr marL="0" marR="0" lvl="0" indent="0" defTabSz="914400" eaLnBrk="1" fontAlgn="auto" latinLnBrk="0" hangingPunct="1">
                <a:lnSpc>
                  <a:spcPct val="150000"/>
                </a:lnSpc>
                <a:spcBef>
                  <a:spcPts val="0"/>
                </a:spcBef>
                <a:spcAft>
                  <a:spcPts val="0"/>
                </a:spcAft>
                <a:buClrTx/>
                <a:buSzTx/>
                <a:buFontTx/>
                <a:buNone/>
                <a:tabLst/>
                <a:defRPr/>
              </a:pPr>
              <a:r>
                <a:rPr kumimoji="0" lang="pt-BR" sz="1400" b="0" i="0" u="none" strike="noStrike" kern="0" cap="none" spc="0" normalizeH="0" baseline="0" noProof="0" dirty="0">
                  <a:ln>
                    <a:noFill/>
                  </a:ln>
                  <a:solidFill>
                    <a:prstClr val="black"/>
                  </a:solidFill>
                  <a:effectLst/>
                  <a:uLnTx/>
                  <a:uFillTx/>
                </a:rPr>
                <a:t>Mass </a:t>
              </a:r>
              <a:r>
                <a:rPr kumimoji="0" lang="pt-BR" sz="1400" b="0" i="0" u="none" strike="noStrike" kern="0" cap="none" spc="0" normalizeH="0" baseline="0" noProof="0" dirty="0" err="1">
                  <a:ln>
                    <a:noFill/>
                  </a:ln>
                  <a:solidFill>
                    <a:prstClr val="black"/>
                  </a:solidFill>
                  <a:effectLst/>
                  <a:uLnTx/>
                  <a:uFillTx/>
                </a:rPr>
                <a:t>Flowmeter</a:t>
              </a:r>
              <a:r>
                <a:rPr kumimoji="0" lang="pt-BR" sz="1400" b="0" i="0" u="none" strike="noStrike" kern="0" cap="none" spc="0" normalizeH="0" baseline="0" noProof="0" dirty="0">
                  <a:ln>
                    <a:noFill/>
                  </a:ln>
                  <a:solidFill>
                    <a:prstClr val="black"/>
                  </a:solidFill>
                  <a:effectLst/>
                  <a:uLnTx/>
                  <a:uFillTx/>
                </a:rPr>
                <a:t> (“</a:t>
              </a:r>
              <a:r>
                <a:rPr kumimoji="0" lang="pt-BR" sz="1400" b="0" i="1" u="none" strike="noStrike" kern="0" cap="none" spc="0" normalizeH="0" baseline="0" noProof="0" dirty="0" err="1">
                  <a:ln>
                    <a:noFill/>
                  </a:ln>
                  <a:solidFill>
                    <a:prstClr val="black"/>
                  </a:solidFill>
                  <a:effectLst/>
                  <a:uLnTx/>
                  <a:uFillTx/>
                </a:rPr>
                <a:t>Coriolis</a:t>
              </a:r>
              <a:r>
                <a:rPr kumimoji="0" lang="pt-BR" sz="1400" b="0" i="0" u="none" strike="noStrike" kern="0" cap="none" spc="0" normalizeH="0" baseline="0" noProof="0" dirty="0">
                  <a:ln>
                    <a:noFill/>
                  </a:ln>
                  <a:solidFill>
                    <a:prstClr val="black"/>
                  </a:solidFill>
                  <a:effectLst/>
                  <a:uLnTx/>
                  <a:uFillTx/>
                </a:rPr>
                <a:t>” </a:t>
              </a:r>
              <a:r>
                <a:rPr kumimoji="0" lang="pt-BR" sz="1400" b="0" i="0" u="none" strike="noStrike" kern="0" cap="none" spc="0" normalizeH="0" baseline="0" noProof="0" dirty="0" err="1">
                  <a:ln>
                    <a:noFill/>
                  </a:ln>
                  <a:solidFill>
                    <a:prstClr val="black"/>
                  </a:solidFill>
                  <a:effectLst/>
                  <a:uLnTx/>
                  <a:uFillTx/>
                </a:rPr>
                <a:t>type</a:t>
              </a:r>
              <a:r>
                <a:rPr kumimoji="0" lang="pt-BR" sz="1400" b="0" i="0" u="none" strike="noStrike" kern="0" cap="none" spc="0" normalizeH="0" baseline="0" noProof="0" dirty="0">
                  <a:ln>
                    <a:noFill/>
                  </a:ln>
                  <a:solidFill>
                    <a:prstClr val="black"/>
                  </a:solidFill>
                  <a:effectLst/>
                  <a:uLnTx/>
                  <a:uFillTx/>
                </a:rPr>
                <a:t>)</a:t>
              </a:r>
            </a:p>
            <a:p>
              <a:pPr marL="0" marR="0" lvl="0" indent="0" defTabSz="914400" eaLnBrk="1" fontAlgn="auto" latinLnBrk="0" hangingPunct="1">
                <a:lnSpc>
                  <a:spcPct val="150000"/>
                </a:lnSpc>
                <a:spcBef>
                  <a:spcPts val="0"/>
                </a:spcBef>
                <a:spcAft>
                  <a:spcPts val="0"/>
                </a:spcAft>
                <a:buClrTx/>
                <a:buSzTx/>
                <a:buFontTx/>
                <a:buNone/>
                <a:tabLst/>
                <a:defRPr/>
              </a:pPr>
              <a:r>
                <a:rPr kumimoji="0" lang="pt-BR" sz="1400" b="0" i="0" u="none" strike="noStrike" kern="0" cap="none" spc="0" normalizeH="0" baseline="0" noProof="0" dirty="0">
                  <a:ln>
                    <a:noFill/>
                  </a:ln>
                  <a:solidFill>
                    <a:prstClr val="black"/>
                  </a:solidFill>
                  <a:effectLst/>
                  <a:uLnTx/>
                  <a:uFillTx/>
                </a:rPr>
                <a:t>Biodiesel </a:t>
              </a:r>
              <a:r>
                <a:rPr kumimoji="0" lang="pt-BR" sz="1400" b="0" i="0" u="none" strike="noStrike" kern="0" cap="none" spc="0" normalizeH="0" baseline="0" noProof="0" dirty="0" err="1">
                  <a:ln>
                    <a:noFill/>
                  </a:ln>
                  <a:solidFill>
                    <a:prstClr val="black"/>
                  </a:solidFill>
                  <a:effectLst/>
                  <a:uLnTx/>
                  <a:uFillTx/>
                </a:rPr>
                <a:t>Testing</a:t>
              </a:r>
              <a:endParaRPr kumimoji="0" lang="pt-BR" sz="1400" b="0" i="0" u="none" strike="noStrike" kern="0" cap="none" spc="0" normalizeH="0" baseline="0" noProof="0" dirty="0">
                <a:ln>
                  <a:noFill/>
                </a:ln>
                <a:solidFill>
                  <a:prstClr val="black"/>
                </a:solidFill>
                <a:effectLst/>
                <a:uLnTx/>
                <a:uFillTx/>
              </a:endParaRPr>
            </a:p>
          </p:txBody>
        </p:sp>
        <p:sp>
          <p:nvSpPr>
            <p:cNvPr id="53" name="TextBox 25">
              <a:extLst>
                <a:ext uri="{FF2B5EF4-FFF2-40B4-BE49-F238E27FC236}">
                  <a16:creationId xmlns:a16="http://schemas.microsoft.com/office/drawing/2014/main" id="{9386AA33-95A8-89AB-C744-A582A89014EC}"/>
                </a:ext>
              </a:extLst>
            </p:cNvPr>
            <p:cNvSpPr txBox="1"/>
            <p:nvPr/>
          </p:nvSpPr>
          <p:spPr>
            <a:xfrm>
              <a:off x="292797" y="3326006"/>
              <a:ext cx="3408846" cy="38363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prstClr val="black"/>
                  </a:solidFill>
                  <a:effectLst/>
                  <a:uLnTx/>
                  <a:uFillTx/>
                </a:rPr>
                <a:t>Phase 1: 2021 to 2025</a:t>
              </a:r>
              <a:endParaRPr kumimoji="0" lang="en-GB" sz="2400" b="1" i="0" u="none" strike="noStrike" kern="0" cap="none" spc="0" normalizeH="0" baseline="0" noProof="0" dirty="0">
                <a:ln>
                  <a:noFill/>
                </a:ln>
                <a:solidFill>
                  <a:prstClr val="black"/>
                </a:solidFill>
                <a:effectLst/>
                <a:uLnTx/>
                <a:uFillTx/>
                <a:ea typeface="Noto Sans" panose="020B0502040504020204" pitchFamily="34"/>
                <a:cs typeface="Noto Sans" panose="020B0502040504020204" pitchFamily="34"/>
              </a:endParaRPr>
            </a:p>
          </p:txBody>
        </p:sp>
        <p:sp>
          <p:nvSpPr>
            <p:cNvPr id="54" name="Rectangle 27">
              <a:extLst>
                <a:ext uri="{FF2B5EF4-FFF2-40B4-BE49-F238E27FC236}">
                  <a16:creationId xmlns:a16="http://schemas.microsoft.com/office/drawing/2014/main" id="{46EE90F1-6F9D-6462-7992-C9725403F4C4}"/>
                </a:ext>
              </a:extLst>
            </p:cNvPr>
            <p:cNvSpPr/>
            <p:nvPr/>
          </p:nvSpPr>
          <p:spPr>
            <a:xfrm>
              <a:off x="150298" y="5960107"/>
              <a:ext cx="3600000" cy="88983"/>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nvGrpSpPr>
          <p:cNvPr id="55" name="Agrupar 54">
            <a:extLst>
              <a:ext uri="{FF2B5EF4-FFF2-40B4-BE49-F238E27FC236}">
                <a16:creationId xmlns:a16="http://schemas.microsoft.com/office/drawing/2014/main" id="{0EF4B58B-D77C-5A0A-489D-4F8327292837}"/>
              </a:ext>
            </a:extLst>
          </p:cNvPr>
          <p:cNvGrpSpPr/>
          <p:nvPr/>
        </p:nvGrpSpPr>
        <p:grpSpPr>
          <a:xfrm>
            <a:off x="8105790" y="1535613"/>
            <a:ext cx="3651063" cy="3422585"/>
            <a:chOff x="8105790" y="1535613"/>
            <a:chExt cx="3651063" cy="3422585"/>
          </a:xfrm>
        </p:grpSpPr>
        <p:sp>
          <p:nvSpPr>
            <p:cNvPr id="56" name="Oval 2">
              <a:extLst>
                <a:ext uri="{FF2B5EF4-FFF2-40B4-BE49-F238E27FC236}">
                  <a16:creationId xmlns:a16="http://schemas.microsoft.com/office/drawing/2014/main" id="{D1149BE2-1459-FF36-049B-D63A09677B76}"/>
                </a:ext>
              </a:extLst>
            </p:cNvPr>
            <p:cNvSpPr/>
            <p:nvPr/>
          </p:nvSpPr>
          <p:spPr>
            <a:xfrm>
              <a:off x="9188033" y="4188578"/>
              <a:ext cx="1445002" cy="769620"/>
            </a:xfrm>
            <a:prstGeom prst="ellipse">
              <a:avLst/>
            </a:prstGeom>
            <a:solidFill>
              <a:srgbClr val="5B9BD5"/>
            </a:solidFill>
            <a:ln w="381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7" name="Rectangle: Rounded Corners 4">
              <a:extLst>
                <a:ext uri="{FF2B5EF4-FFF2-40B4-BE49-F238E27FC236}">
                  <a16:creationId xmlns:a16="http://schemas.microsoft.com/office/drawing/2014/main" id="{3F34BBFC-816E-5EB7-2957-C47C746DC97F}"/>
                </a:ext>
              </a:extLst>
            </p:cNvPr>
            <p:cNvSpPr/>
            <p:nvPr/>
          </p:nvSpPr>
          <p:spPr>
            <a:xfrm>
              <a:off x="9805851" y="3486913"/>
              <a:ext cx="191589" cy="1078506"/>
            </a:xfrm>
            <a:prstGeom prst="roundRect">
              <a:avLst>
                <a:gd name="adj" fmla="val 50000"/>
              </a:avLst>
            </a:prstGeom>
            <a:solidFill>
              <a:srgbClr val="5B9BD5">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8" name="Rectangle 28">
              <a:extLst>
                <a:ext uri="{FF2B5EF4-FFF2-40B4-BE49-F238E27FC236}">
                  <a16:creationId xmlns:a16="http://schemas.microsoft.com/office/drawing/2014/main" id="{AA03596A-CC10-E64A-DE5D-F27ADBB97582}"/>
                </a:ext>
              </a:extLst>
            </p:cNvPr>
            <p:cNvSpPr/>
            <p:nvPr/>
          </p:nvSpPr>
          <p:spPr>
            <a:xfrm>
              <a:off x="8156853" y="2056005"/>
              <a:ext cx="3600000" cy="88983"/>
            </a:xfrm>
            <a:prstGeom prst="rect">
              <a:avLst/>
            </a:prstGeom>
            <a:solidFill>
              <a:srgbClr val="5B9BD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9" name="TextBox 29">
              <a:extLst>
                <a:ext uri="{FF2B5EF4-FFF2-40B4-BE49-F238E27FC236}">
                  <a16:creationId xmlns:a16="http://schemas.microsoft.com/office/drawing/2014/main" id="{906BB476-01BC-81BE-6AB4-C0ABD9A541FB}"/>
                </a:ext>
              </a:extLst>
            </p:cNvPr>
            <p:cNvSpPr txBox="1"/>
            <p:nvPr/>
          </p:nvSpPr>
          <p:spPr>
            <a:xfrm>
              <a:off x="8131917" y="2074849"/>
              <a:ext cx="3609488" cy="1384995"/>
            </a:xfrm>
            <a:prstGeom prst="rect">
              <a:avLst/>
            </a:prstGeom>
            <a:noFill/>
          </p:spPr>
          <p:txBody>
            <a:bodyPr wrap="square" rtlCol="0">
              <a:spAutoFit/>
            </a:bodyPr>
            <a:lstStyle/>
            <a:p>
              <a:pPr marL="0" marR="0" lvl="0" indent="0" defTabSz="914400" eaLnBrk="1" fontAlgn="auto" latinLnBrk="0" hangingPunct="1">
                <a:lnSpc>
                  <a:spcPct val="150000"/>
                </a:lnSpc>
                <a:spcBef>
                  <a:spcPts val="0"/>
                </a:spcBef>
                <a:spcAft>
                  <a:spcPts val="0"/>
                </a:spcAft>
                <a:buClrTx/>
                <a:buSzTx/>
                <a:buFontTx/>
                <a:buNone/>
                <a:tabLst/>
                <a:defRPr/>
              </a:pPr>
              <a:r>
                <a:rPr kumimoji="0" lang="pt-BR" sz="1400" b="0" i="0" u="none" strike="noStrike" kern="0" cap="none" spc="0" normalizeH="0" baseline="0" noProof="0" dirty="0" err="1">
                  <a:ln>
                    <a:noFill/>
                  </a:ln>
                  <a:solidFill>
                    <a:prstClr val="black"/>
                  </a:solidFill>
                  <a:effectLst/>
                  <a:uLnTx/>
                  <a:uFillTx/>
                </a:rPr>
                <a:t>Alternative</a:t>
              </a:r>
              <a:r>
                <a:rPr kumimoji="0" lang="pt-BR" sz="1400" b="0" i="0" u="none" strike="noStrike" kern="0" cap="none" spc="0" normalizeH="0" baseline="0" noProof="0" dirty="0">
                  <a:ln>
                    <a:noFill/>
                  </a:ln>
                  <a:solidFill>
                    <a:prstClr val="black"/>
                  </a:solidFill>
                  <a:effectLst/>
                  <a:uLnTx/>
                  <a:uFillTx/>
                </a:rPr>
                <a:t> </a:t>
              </a:r>
              <a:r>
                <a:rPr kumimoji="0" lang="pt-BR" sz="1400" b="0" i="0" u="none" strike="noStrike" kern="0" cap="none" spc="0" normalizeH="0" baseline="0" noProof="0" dirty="0" err="1">
                  <a:ln>
                    <a:noFill/>
                  </a:ln>
                  <a:solidFill>
                    <a:prstClr val="black"/>
                  </a:solidFill>
                  <a:effectLst/>
                  <a:uLnTx/>
                  <a:uFillTx/>
                </a:rPr>
                <a:t>Fuels</a:t>
              </a:r>
              <a:endParaRPr kumimoji="0" lang="pt-BR" sz="1400" b="0" i="0" u="none" strike="noStrike" kern="0" cap="none" spc="0" normalizeH="0" baseline="0" noProof="0" dirty="0">
                <a:ln>
                  <a:noFill/>
                </a:ln>
                <a:solidFill>
                  <a:prstClr val="black"/>
                </a:solidFill>
                <a:effectLst/>
                <a:uLnTx/>
                <a:uFillTx/>
              </a:endParaRPr>
            </a:p>
            <a:p>
              <a:pPr marL="0" marR="0" lvl="0" indent="0" defTabSz="914400" eaLnBrk="1" fontAlgn="auto" latinLnBrk="0" hangingPunct="1">
                <a:lnSpc>
                  <a:spcPct val="150000"/>
                </a:lnSpc>
                <a:spcBef>
                  <a:spcPts val="0"/>
                </a:spcBef>
                <a:spcAft>
                  <a:spcPts val="0"/>
                </a:spcAft>
                <a:buClrTx/>
                <a:buSzTx/>
                <a:buFontTx/>
                <a:buNone/>
                <a:tabLst/>
                <a:defRPr/>
              </a:pPr>
              <a:r>
                <a:rPr kumimoji="0" lang="pt-BR" sz="1400" b="0" i="0" u="none" strike="noStrike" kern="0" cap="none" spc="0" normalizeH="0" baseline="0" noProof="0" dirty="0">
                  <a:ln>
                    <a:noFill/>
                  </a:ln>
                  <a:solidFill>
                    <a:prstClr val="black"/>
                  </a:solidFill>
                  <a:effectLst/>
                  <a:uLnTx/>
                  <a:uFillTx/>
                </a:rPr>
                <a:t>Dual </a:t>
              </a:r>
              <a:r>
                <a:rPr kumimoji="0" lang="pt-BR" sz="1400" b="0" i="0" u="none" strike="noStrike" kern="0" cap="none" spc="0" normalizeH="0" baseline="0" noProof="0" dirty="0" err="1">
                  <a:ln>
                    <a:noFill/>
                  </a:ln>
                  <a:solidFill>
                    <a:prstClr val="black"/>
                  </a:solidFill>
                  <a:effectLst/>
                  <a:uLnTx/>
                  <a:uFillTx/>
                </a:rPr>
                <a:t>Fuel</a:t>
              </a:r>
              <a:r>
                <a:rPr kumimoji="0" lang="pt-BR" sz="1400" b="0" i="0" u="none" strike="noStrike" kern="0" cap="none" spc="0" normalizeH="0" baseline="0" noProof="0" dirty="0">
                  <a:ln>
                    <a:noFill/>
                  </a:ln>
                  <a:solidFill>
                    <a:prstClr val="black"/>
                  </a:solidFill>
                  <a:effectLst/>
                  <a:uLnTx/>
                  <a:uFillTx/>
                </a:rPr>
                <a:t> </a:t>
              </a:r>
              <a:r>
                <a:rPr kumimoji="0" lang="pt-BR" sz="1400" b="0" i="0" u="none" strike="noStrike" kern="0" cap="none" spc="0" normalizeH="0" baseline="0" noProof="0" dirty="0" err="1">
                  <a:ln>
                    <a:noFill/>
                  </a:ln>
                  <a:solidFill>
                    <a:prstClr val="black"/>
                  </a:solidFill>
                  <a:effectLst/>
                  <a:uLnTx/>
                  <a:uFillTx/>
                </a:rPr>
                <a:t>Engine</a:t>
              </a:r>
              <a:r>
                <a:rPr kumimoji="0" lang="pt-BR" sz="1400" b="0" i="0" u="none" strike="noStrike" kern="0" cap="none" spc="0" normalizeH="0" baseline="0" noProof="0" dirty="0">
                  <a:ln>
                    <a:noFill/>
                  </a:ln>
                  <a:solidFill>
                    <a:prstClr val="black"/>
                  </a:solidFill>
                  <a:effectLst/>
                  <a:uLnTx/>
                  <a:uFillTx/>
                </a:rPr>
                <a:t> </a:t>
              </a:r>
              <a:r>
                <a:rPr kumimoji="0" lang="pt-BR" sz="1400" b="0" i="0" u="none" strike="noStrike" kern="0" cap="none" spc="0" normalizeH="0" baseline="0" noProof="0" dirty="0" err="1">
                  <a:ln>
                    <a:noFill/>
                  </a:ln>
                  <a:solidFill>
                    <a:prstClr val="black"/>
                  </a:solidFill>
                  <a:effectLst/>
                  <a:uLnTx/>
                  <a:uFillTx/>
                </a:rPr>
                <a:t>Retrofit</a:t>
              </a:r>
              <a:endParaRPr kumimoji="0" lang="pt-BR" sz="1400" b="0" i="0" u="none" strike="noStrike" kern="0" cap="none" spc="0" normalizeH="0" baseline="0" noProof="0" dirty="0">
                <a:ln>
                  <a:noFill/>
                </a:ln>
                <a:solidFill>
                  <a:prstClr val="black"/>
                </a:solidFill>
                <a:effectLst/>
                <a:uLnTx/>
                <a:uFillTx/>
              </a:endParaRPr>
            </a:p>
            <a:p>
              <a:pPr marL="0" marR="0" lvl="0" indent="0" defTabSz="914400" eaLnBrk="1" fontAlgn="auto" latinLnBrk="0" hangingPunct="1">
                <a:lnSpc>
                  <a:spcPct val="150000"/>
                </a:lnSpc>
                <a:spcBef>
                  <a:spcPts val="0"/>
                </a:spcBef>
                <a:spcAft>
                  <a:spcPts val="0"/>
                </a:spcAft>
                <a:buClrTx/>
                <a:buSzTx/>
                <a:buFontTx/>
                <a:buNone/>
                <a:tabLst/>
                <a:defRPr/>
              </a:pPr>
              <a:r>
                <a:rPr kumimoji="0" lang="pt-BR" sz="1400" b="0" i="0" u="none" strike="noStrike" kern="0" cap="none" spc="0" normalizeH="0" baseline="0" noProof="0" dirty="0">
                  <a:ln>
                    <a:noFill/>
                  </a:ln>
                  <a:solidFill>
                    <a:prstClr val="black"/>
                  </a:solidFill>
                  <a:effectLst/>
                  <a:uLnTx/>
                  <a:uFillTx/>
                </a:rPr>
                <a:t>CCS – </a:t>
              </a:r>
              <a:r>
                <a:rPr kumimoji="0" lang="pt-BR" sz="1400" b="0" i="0" u="none" strike="noStrike" kern="0" cap="none" spc="0" normalizeH="0" baseline="0" noProof="0" dirty="0" err="1">
                  <a:ln>
                    <a:noFill/>
                  </a:ln>
                  <a:solidFill>
                    <a:prstClr val="black"/>
                  </a:solidFill>
                  <a:effectLst/>
                  <a:uLnTx/>
                  <a:uFillTx/>
                </a:rPr>
                <a:t>Carbon</a:t>
              </a:r>
              <a:r>
                <a:rPr kumimoji="0" lang="pt-BR" sz="1400" b="0" i="0" u="none" strike="noStrike" kern="0" cap="none" spc="0" normalizeH="0" baseline="0" noProof="0" dirty="0">
                  <a:ln>
                    <a:noFill/>
                  </a:ln>
                  <a:solidFill>
                    <a:prstClr val="black"/>
                  </a:solidFill>
                  <a:effectLst/>
                  <a:uLnTx/>
                  <a:uFillTx/>
                </a:rPr>
                <a:t> Capture </a:t>
              </a:r>
              <a:r>
                <a:rPr kumimoji="0" lang="pt-BR" sz="1400" b="0" i="0" u="none" strike="noStrike" kern="0" cap="none" spc="0" normalizeH="0" baseline="0" noProof="0" dirty="0" err="1">
                  <a:ln>
                    <a:noFill/>
                  </a:ln>
                  <a:solidFill>
                    <a:prstClr val="black"/>
                  </a:solidFill>
                  <a:effectLst/>
                  <a:uLnTx/>
                  <a:uFillTx/>
                </a:rPr>
                <a:t>and</a:t>
              </a:r>
              <a:r>
                <a:rPr kumimoji="0" lang="pt-BR" sz="1400" b="0" i="0" u="none" strike="noStrike" kern="0" cap="none" spc="0" normalizeH="0" baseline="0" noProof="0" dirty="0">
                  <a:ln>
                    <a:noFill/>
                  </a:ln>
                  <a:solidFill>
                    <a:prstClr val="black"/>
                  </a:solidFill>
                  <a:effectLst/>
                  <a:uLnTx/>
                  <a:uFillTx/>
                </a:rPr>
                <a:t> </a:t>
              </a:r>
              <a:r>
                <a:rPr kumimoji="0" lang="pt-BR" sz="1400" b="0" i="0" u="none" strike="noStrike" kern="0" cap="none" spc="0" normalizeH="0" baseline="0" noProof="0" dirty="0" err="1">
                  <a:ln>
                    <a:noFill/>
                  </a:ln>
                  <a:solidFill>
                    <a:prstClr val="black"/>
                  </a:solidFill>
                  <a:effectLst/>
                  <a:uLnTx/>
                  <a:uFillTx/>
                </a:rPr>
                <a:t>Storage</a:t>
              </a:r>
              <a:endParaRPr kumimoji="0" lang="pt-BR" sz="1400" b="0" i="0" u="none" strike="noStrike" kern="0" cap="none" spc="0" normalizeH="0" baseline="0" noProof="0" dirty="0">
                <a:ln>
                  <a:noFill/>
                </a:ln>
                <a:solidFill>
                  <a:prstClr val="black"/>
                </a:solidFill>
                <a:effectLst/>
                <a:uLnTx/>
                <a:uFillTx/>
              </a:endParaRPr>
            </a:p>
            <a:p>
              <a:pPr marL="0" marR="0" lvl="0" indent="0" defTabSz="914400" eaLnBrk="1" fontAlgn="auto" latinLnBrk="0" hangingPunct="1">
                <a:lnSpc>
                  <a:spcPct val="150000"/>
                </a:lnSpc>
                <a:spcBef>
                  <a:spcPts val="0"/>
                </a:spcBef>
                <a:spcAft>
                  <a:spcPts val="0"/>
                </a:spcAft>
                <a:buClrTx/>
                <a:buSzTx/>
                <a:buFontTx/>
                <a:buNone/>
                <a:tabLst/>
                <a:defRPr/>
              </a:pPr>
              <a:r>
                <a:rPr kumimoji="0" lang="pt-BR" sz="1400" b="0" i="0" u="none" strike="noStrike" kern="0" cap="none" spc="0" normalizeH="0" baseline="0" noProof="0" dirty="0" err="1">
                  <a:ln>
                    <a:noFill/>
                  </a:ln>
                  <a:solidFill>
                    <a:prstClr val="black"/>
                  </a:solidFill>
                  <a:effectLst/>
                  <a:uLnTx/>
                  <a:uFillTx/>
                </a:rPr>
                <a:t>Hybrid</a:t>
              </a:r>
              <a:r>
                <a:rPr kumimoji="0" lang="pt-BR" sz="1400" b="0" i="0" u="none" strike="noStrike" kern="0" cap="none" spc="0" normalizeH="0" baseline="0" noProof="0" dirty="0">
                  <a:ln>
                    <a:noFill/>
                  </a:ln>
                  <a:solidFill>
                    <a:prstClr val="black"/>
                  </a:solidFill>
                  <a:effectLst/>
                  <a:uLnTx/>
                  <a:uFillTx/>
                </a:rPr>
                <a:t> </a:t>
              </a:r>
              <a:r>
                <a:rPr kumimoji="0" lang="pt-BR" sz="1400" b="0" i="0" u="none" strike="noStrike" kern="0" cap="none" spc="0" normalizeH="0" baseline="0" noProof="0" dirty="0" err="1">
                  <a:ln>
                    <a:noFill/>
                  </a:ln>
                  <a:solidFill>
                    <a:prstClr val="black"/>
                  </a:solidFill>
                  <a:effectLst/>
                  <a:uLnTx/>
                  <a:uFillTx/>
                </a:rPr>
                <a:t>Propulsion</a:t>
              </a:r>
              <a:r>
                <a:rPr kumimoji="0" lang="pt-BR" sz="1400" b="0" i="0" u="none" strike="noStrike" kern="0" cap="none" spc="0" normalizeH="0" baseline="0" noProof="0" dirty="0">
                  <a:ln>
                    <a:noFill/>
                  </a:ln>
                  <a:solidFill>
                    <a:prstClr val="black"/>
                  </a:solidFill>
                  <a:effectLst/>
                  <a:uLnTx/>
                  <a:uFillTx/>
                </a:rPr>
                <a:t> </a:t>
              </a:r>
              <a:r>
                <a:rPr kumimoji="0" lang="pt-BR" sz="1400" b="0" i="0" u="none" strike="noStrike" kern="0" cap="none" spc="0" normalizeH="0" baseline="0" noProof="0" dirty="0" err="1">
                  <a:ln>
                    <a:noFill/>
                  </a:ln>
                  <a:solidFill>
                    <a:prstClr val="black"/>
                  </a:solidFill>
                  <a:effectLst/>
                  <a:uLnTx/>
                  <a:uFillTx/>
                </a:rPr>
                <a:t>and</a:t>
              </a:r>
              <a:r>
                <a:rPr kumimoji="0" lang="pt-BR" sz="1400" b="0" i="0" u="none" strike="noStrike" kern="0" cap="none" spc="0" normalizeH="0" baseline="0" noProof="0" dirty="0">
                  <a:ln>
                    <a:noFill/>
                  </a:ln>
                  <a:solidFill>
                    <a:prstClr val="black"/>
                  </a:solidFill>
                  <a:effectLst/>
                  <a:uLnTx/>
                  <a:uFillTx/>
                </a:rPr>
                <a:t> Power </a:t>
              </a:r>
              <a:r>
                <a:rPr kumimoji="0" lang="pt-BR" sz="1400" b="0" i="0" u="none" strike="noStrike" kern="0" cap="none" spc="0" normalizeH="0" baseline="0" noProof="0" dirty="0" err="1">
                  <a:ln>
                    <a:noFill/>
                  </a:ln>
                  <a:solidFill>
                    <a:prstClr val="black"/>
                  </a:solidFill>
                  <a:effectLst/>
                  <a:uLnTx/>
                  <a:uFillTx/>
                </a:rPr>
                <a:t>Generation</a:t>
              </a:r>
              <a:endParaRPr kumimoji="0" lang="pt-BR" sz="1400" b="0" i="0" u="none" strike="noStrike" kern="0" cap="none" spc="0" normalizeH="0" baseline="0" noProof="0" dirty="0">
                <a:ln>
                  <a:noFill/>
                </a:ln>
                <a:solidFill>
                  <a:prstClr val="black"/>
                </a:solidFill>
                <a:effectLst/>
                <a:uLnTx/>
                <a:uFillTx/>
              </a:endParaRPr>
            </a:p>
          </p:txBody>
        </p:sp>
        <p:sp>
          <p:nvSpPr>
            <p:cNvPr id="60" name="TextBox 30">
              <a:extLst>
                <a:ext uri="{FF2B5EF4-FFF2-40B4-BE49-F238E27FC236}">
                  <a16:creationId xmlns:a16="http://schemas.microsoft.com/office/drawing/2014/main" id="{FA765CF6-80CB-8239-4B21-E03656048793}"/>
                </a:ext>
              </a:extLst>
            </p:cNvPr>
            <p:cNvSpPr txBox="1"/>
            <p:nvPr/>
          </p:nvSpPr>
          <p:spPr>
            <a:xfrm>
              <a:off x="8105790" y="1535613"/>
              <a:ext cx="3609488" cy="46166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2400" b="1" i="0" u="none" strike="noStrike" kern="0" cap="none" spc="0" normalizeH="0" baseline="0" noProof="0" dirty="0" err="1">
                  <a:ln>
                    <a:noFill/>
                  </a:ln>
                  <a:solidFill>
                    <a:prstClr val="black"/>
                  </a:solidFill>
                  <a:effectLst/>
                  <a:uLnTx/>
                  <a:uFillTx/>
                </a:rPr>
                <a:t>Phase</a:t>
              </a:r>
              <a:r>
                <a:rPr kumimoji="0" lang="pt-BR" sz="2400" b="1" i="0" u="none" strike="noStrike" kern="0" cap="none" spc="0" normalizeH="0" baseline="0" noProof="0" dirty="0">
                  <a:ln>
                    <a:noFill/>
                  </a:ln>
                  <a:solidFill>
                    <a:prstClr val="black"/>
                  </a:solidFill>
                  <a:effectLst/>
                  <a:uLnTx/>
                  <a:uFillTx/>
                </a:rPr>
                <a:t> 3: 2028 </a:t>
              </a:r>
              <a:r>
                <a:rPr kumimoji="0" lang="pt-BR" sz="2400" b="1" i="0" u="none" strike="noStrike" kern="0" cap="none" spc="0" normalizeH="0" baseline="0" noProof="0" dirty="0" err="1">
                  <a:ln>
                    <a:noFill/>
                  </a:ln>
                  <a:solidFill>
                    <a:prstClr val="black"/>
                  </a:solidFill>
                  <a:effectLst/>
                  <a:uLnTx/>
                  <a:uFillTx/>
                </a:rPr>
                <a:t>to</a:t>
              </a:r>
              <a:r>
                <a:rPr kumimoji="0" lang="pt-BR" sz="2400" b="1" i="0" u="none" strike="noStrike" kern="0" cap="none" spc="0" normalizeH="0" baseline="0" noProof="0" dirty="0">
                  <a:ln>
                    <a:noFill/>
                  </a:ln>
                  <a:solidFill>
                    <a:prstClr val="black"/>
                  </a:solidFill>
                  <a:effectLst/>
                  <a:uLnTx/>
                  <a:uFillTx/>
                </a:rPr>
                <a:t> 2030</a:t>
              </a:r>
              <a:endParaRPr kumimoji="0" lang="en-GB" sz="2400" b="1" i="0" u="none" strike="noStrike" kern="0" cap="none" spc="0" normalizeH="0" baseline="0" noProof="0" dirty="0">
                <a:ln>
                  <a:noFill/>
                </a:ln>
                <a:solidFill>
                  <a:prstClr val="black"/>
                </a:solidFill>
                <a:effectLst/>
                <a:uLnTx/>
                <a:uFillTx/>
              </a:endParaRPr>
            </a:p>
          </p:txBody>
        </p:sp>
        <p:sp>
          <p:nvSpPr>
            <p:cNvPr id="61" name="Rectangle 31">
              <a:extLst>
                <a:ext uri="{FF2B5EF4-FFF2-40B4-BE49-F238E27FC236}">
                  <a16:creationId xmlns:a16="http://schemas.microsoft.com/office/drawing/2014/main" id="{6673A496-15D3-C783-2BFE-9AD05599A512}"/>
                </a:ext>
              </a:extLst>
            </p:cNvPr>
            <p:cNvSpPr/>
            <p:nvPr/>
          </p:nvSpPr>
          <p:spPr>
            <a:xfrm>
              <a:off x="8156853" y="3443258"/>
              <a:ext cx="3600000" cy="101131"/>
            </a:xfrm>
            <a:prstGeom prst="rect">
              <a:avLst/>
            </a:prstGeom>
            <a:solidFill>
              <a:srgbClr val="5B9BD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nvGrpSpPr>
          <p:cNvPr id="62" name="Agrupar 61">
            <a:extLst>
              <a:ext uri="{FF2B5EF4-FFF2-40B4-BE49-F238E27FC236}">
                <a16:creationId xmlns:a16="http://schemas.microsoft.com/office/drawing/2014/main" id="{3DB03905-D12A-48BE-9EF0-A05ADC917115}"/>
              </a:ext>
            </a:extLst>
          </p:cNvPr>
          <p:cNvGrpSpPr/>
          <p:nvPr/>
        </p:nvGrpSpPr>
        <p:grpSpPr>
          <a:xfrm>
            <a:off x="4273853" y="2272612"/>
            <a:ext cx="3806818" cy="3550715"/>
            <a:chOff x="4004771" y="2286050"/>
            <a:chExt cx="3682831" cy="3550715"/>
          </a:xfrm>
        </p:grpSpPr>
        <p:sp>
          <p:nvSpPr>
            <p:cNvPr id="63" name="Oval 12">
              <a:extLst>
                <a:ext uri="{FF2B5EF4-FFF2-40B4-BE49-F238E27FC236}">
                  <a16:creationId xmlns:a16="http://schemas.microsoft.com/office/drawing/2014/main" id="{3E723018-1AF4-F23C-8705-F95E19F64023}"/>
                </a:ext>
              </a:extLst>
            </p:cNvPr>
            <p:cNvSpPr/>
            <p:nvPr/>
          </p:nvSpPr>
          <p:spPr>
            <a:xfrm>
              <a:off x="5185972" y="5274586"/>
              <a:ext cx="1055521" cy="562179"/>
            </a:xfrm>
            <a:prstGeom prst="ellipse">
              <a:avLst/>
            </a:prstGeom>
            <a:solidFill>
              <a:srgbClr val="FFC000"/>
            </a:solidFill>
            <a:ln w="381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4" name="Rectangle: Rounded Corners 18">
              <a:extLst>
                <a:ext uri="{FF2B5EF4-FFF2-40B4-BE49-F238E27FC236}">
                  <a16:creationId xmlns:a16="http://schemas.microsoft.com/office/drawing/2014/main" id="{8081E18D-63C6-7484-0415-2C2EEC6D3F44}"/>
                </a:ext>
              </a:extLst>
            </p:cNvPr>
            <p:cNvSpPr/>
            <p:nvPr/>
          </p:nvSpPr>
          <p:spPr>
            <a:xfrm>
              <a:off x="5657192" y="4899178"/>
              <a:ext cx="98766" cy="679724"/>
            </a:xfrm>
            <a:prstGeom prst="roundRect">
              <a:avLst>
                <a:gd name="adj" fmla="val 50000"/>
              </a:avLst>
            </a:prstGeom>
            <a:solidFill>
              <a:srgbClr val="FFC000">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5" name="Rectangle 36">
              <a:extLst>
                <a:ext uri="{FF2B5EF4-FFF2-40B4-BE49-F238E27FC236}">
                  <a16:creationId xmlns:a16="http://schemas.microsoft.com/office/drawing/2014/main" id="{8730DA3C-9C36-EA57-9227-80C57058A691}"/>
                </a:ext>
              </a:extLst>
            </p:cNvPr>
            <p:cNvSpPr/>
            <p:nvPr/>
          </p:nvSpPr>
          <p:spPr>
            <a:xfrm>
              <a:off x="4004771" y="2800492"/>
              <a:ext cx="3600000" cy="88983"/>
            </a:xfrm>
            <a:prstGeom prst="rect">
              <a:avLst/>
            </a:prstGeom>
            <a:solidFill>
              <a:srgbClr val="FFC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6" name="TextBox 37">
              <a:extLst>
                <a:ext uri="{FF2B5EF4-FFF2-40B4-BE49-F238E27FC236}">
                  <a16:creationId xmlns:a16="http://schemas.microsoft.com/office/drawing/2014/main" id="{EFDA8A80-0487-5B18-6802-D30D962DA5D8}"/>
                </a:ext>
              </a:extLst>
            </p:cNvPr>
            <p:cNvSpPr txBox="1"/>
            <p:nvPr/>
          </p:nvSpPr>
          <p:spPr>
            <a:xfrm>
              <a:off x="4021988" y="2852635"/>
              <a:ext cx="3665614" cy="2031325"/>
            </a:xfrm>
            <a:prstGeom prst="rect">
              <a:avLst/>
            </a:prstGeom>
            <a:noFill/>
          </p:spPr>
          <p:txBody>
            <a:bodyPr wrap="square" rtlCol="0">
              <a:spAutoFit/>
            </a:bodyPr>
            <a:lstStyle/>
            <a:p>
              <a:pPr marL="0" marR="0" lvl="0" indent="0" defTabSz="914400" eaLnBrk="1" fontAlgn="auto" latinLnBrk="0" hangingPunct="1">
                <a:lnSpc>
                  <a:spcPct val="15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rPr>
                <a:t>Wind Assisted Propulsion System (WAPS)</a:t>
              </a:r>
            </a:p>
            <a:p>
              <a:pPr marL="0" marR="0" lvl="0" indent="0" algn="just" defTabSz="914400" eaLnBrk="1" fontAlgn="auto" latinLnBrk="0" hangingPunct="1">
                <a:lnSpc>
                  <a:spcPct val="15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rPr>
                <a:t>Hull Air Lubrication System</a:t>
              </a:r>
            </a:p>
            <a:p>
              <a:pPr marL="0" marR="0" lvl="0" indent="0" algn="just" defTabSz="914400" eaLnBrk="1" fontAlgn="auto" latinLnBrk="0" hangingPunct="1">
                <a:lnSpc>
                  <a:spcPct val="15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rPr>
                <a:t>Power Take-Off (PTO)</a:t>
              </a:r>
            </a:p>
            <a:p>
              <a:pPr marL="0" marR="0" lvl="0" indent="0" algn="just" defTabSz="914400" eaLnBrk="1" fontAlgn="auto" latinLnBrk="0" hangingPunct="1">
                <a:lnSpc>
                  <a:spcPct val="15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rPr>
                <a:t>Waste Heat Recovery System (WHRS)</a:t>
              </a:r>
            </a:p>
            <a:p>
              <a:pPr marL="0" marR="0" lvl="0" indent="0" algn="just" defTabSz="914400" eaLnBrk="1" fontAlgn="auto" latinLnBrk="0" hangingPunct="1">
                <a:lnSpc>
                  <a:spcPct val="150000"/>
                </a:lnSpc>
                <a:spcBef>
                  <a:spcPts val="0"/>
                </a:spcBef>
                <a:spcAft>
                  <a:spcPts val="0"/>
                </a:spcAft>
                <a:buClrTx/>
                <a:buSzTx/>
                <a:buFontTx/>
                <a:buNone/>
                <a:tabLst/>
                <a:defRPr/>
              </a:pPr>
              <a:r>
                <a:rPr kumimoji="0" lang="pt-BR" sz="1400" b="0" i="0" u="none" strike="noStrike" kern="0" cap="none" spc="0" normalizeH="0" baseline="0" noProof="0" dirty="0">
                  <a:ln>
                    <a:noFill/>
                  </a:ln>
                  <a:solidFill>
                    <a:prstClr val="black"/>
                  </a:solidFill>
                  <a:effectLst/>
                  <a:uLnTx/>
                  <a:uFillTx/>
                </a:rPr>
                <a:t>Shore Power Connection</a:t>
              </a:r>
            </a:p>
            <a:p>
              <a:pPr marL="0" marR="0" lvl="0" indent="0" algn="just" defTabSz="914400" eaLnBrk="1" fontAlgn="auto" latinLnBrk="0" hangingPunct="1">
                <a:lnSpc>
                  <a:spcPct val="150000"/>
                </a:lnSpc>
                <a:spcBef>
                  <a:spcPts val="0"/>
                </a:spcBef>
                <a:spcAft>
                  <a:spcPts val="0"/>
                </a:spcAft>
                <a:buClrTx/>
                <a:buSzTx/>
                <a:buFontTx/>
                <a:buNone/>
                <a:tabLst/>
                <a:defRPr/>
              </a:pPr>
              <a:r>
                <a:rPr kumimoji="0" lang="pt-BR" sz="1400" b="0" i="0" u="none" strike="noStrike" kern="0" cap="none" spc="0" normalizeH="0" baseline="0" noProof="0" dirty="0">
                  <a:ln>
                    <a:noFill/>
                  </a:ln>
                  <a:solidFill>
                    <a:prstClr val="black"/>
                  </a:solidFill>
                  <a:effectLst/>
                  <a:uLnTx/>
                  <a:uFillTx/>
                </a:rPr>
                <a:t>VOC Recovery System</a:t>
              </a:r>
            </a:p>
          </p:txBody>
        </p:sp>
        <p:sp>
          <p:nvSpPr>
            <p:cNvPr id="67" name="TextBox 38">
              <a:extLst>
                <a:ext uri="{FF2B5EF4-FFF2-40B4-BE49-F238E27FC236}">
                  <a16:creationId xmlns:a16="http://schemas.microsoft.com/office/drawing/2014/main" id="{78FA2DA9-71AC-5054-37CF-7A18B534D921}"/>
                </a:ext>
              </a:extLst>
            </p:cNvPr>
            <p:cNvSpPr txBox="1"/>
            <p:nvPr/>
          </p:nvSpPr>
          <p:spPr>
            <a:xfrm>
              <a:off x="4022884" y="2286050"/>
              <a:ext cx="3582784" cy="46166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prstClr val="black"/>
                  </a:solidFill>
                  <a:effectLst/>
                  <a:uLnTx/>
                  <a:uFillTx/>
                </a:rPr>
                <a:t>Phase 2: 2026 to 2028</a:t>
              </a:r>
              <a:endParaRPr kumimoji="0" lang="en-GB" sz="2400" b="1" i="0" u="none" strike="noStrike" kern="0" cap="none" spc="0" normalizeH="0" baseline="0" noProof="0" dirty="0">
                <a:ln>
                  <a:noFill/>
                </a:ln>
                <a:solidFill>
                  <a:prstClr val="black"/>
                </a:solidFill>
                <a:effectLst/>
                <a:uLnTx/>
                <a:uFillTx/>
                <a:ea typeface="Noto Sans" panose="020B0502040504020204" pitchFamily="34"/>
                <a:cs typeface="Noto Sans" panose="020B0502040504020204" pitchFamily="34"/>
              </a:endParaRPr>
            </a:p>
          </p:txBody>
        </p:sp>
        <p:sp>
          <p:nvSpPr>
            <p:cNvPr id="68" name="Rectangle 39">
              <a:extLst>
                <a:ext uri="{FF2B5EF4-FFF2-40B4-BE49-F238E27FC236}">
                  <a16:creationId xmlns:a16="http://schemas.microsoft.com/office/drawing/2014/main" id="{03BFC722-DE03-88CC-0BE1-520FF5E872B0}"/>
                </a:ext>
              </a:extLst>
            </p:cNvPr>
            <p:cNvSpPr/>
            <p:nvPr/>
          </p:nvSpPr>
          <p:spPr>
            <a:xfrm>
              <a:off x="4004771" y="4879723"/>
              <a:ext cx="3600000" cy="88983"/>
            </a:xfrm>
            <a:prstGeom prst="rect">
              <a:avLst/>
            </a:prstGeom>
            <a:solidFill>
              <a:srgbClr val="FFC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69" name="Seta para a Esquerda 52">
            <a:extLst>
              <a:ext uri="{FF2B5EF4-FFF2-40B4-BE49-F238E27FC236}">
                <a16:creationId xmlns:a16="http://schemas.microsoft.com/office/drawing/2014/main" id="{247E2D1F-4C63-A1C6-1C4F-D8A9F94AF7B1}"/>
              </a:ext>
            </a:extLst>
          </p:cNvPr>
          <p:cNvSpPr/>
          <p:nvPr/>
        </p:nvSpPr>
        <p:spPr>
          <a:xfrm>
            <a:off x="4181606" y="1394507"/>
            <a:ext cx="3696007" cy="354613"/>
          </a:xfrm>
          <a:prstGeom prst="leftArrow">
            <a:avLst/>
          </a:prstGeom>
          <a:gradFill flip="none" rotWithShape="1">
            <a:gsLst>
              <a:gs pos="0">
                <a:srgbClr val="5B9BD5">
                  <a:lumMod val="5000"/>
                  <a:lumOff val="95000"/>
                </a:srgbClr>
              </a:gs>
              <a:gs pos="38000">
                <a:srgbClr val="70AD47">
                  <a:lumMod val="40000"/>
                  <a:lumOff val="60000"/>
                </a:srgbClr>
              </a:gs>
              <a:gs pos="69000">
                <a:srgbClr val="70AD47">
                  <a:lumMod val="60000"/>
                  <a:lumOff val="40000"/>
                </a:srgbClr>
              </a:gs>
              <a:gs pos="100000">
                <a:srgbClr val="70AD47"/>
              </a:gs>
            </a:gsLst>
            <a:lin ang="10800000" scaled="1"/>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BR" sz="1600" b="1" i="0" u="none" strike="noStrike" kern="0" cap="none" spc="0" normalizeH="0" baseline="0" noProof="0">
              <a:ln>
                <a:noFill/>
              </a:ln>
              <a:solidFill>
                <a:prstClr val="white"/>
              </a:solidFill>
              <a:effectLst/>
              <a:uLnTx/>
              <a:uFillTx/>
              <a:ea typeface="+mn-ea"/>
              <a:cs typeface="+mn-cs"/>
            </a:endParaRPr>
          </a:p>
        </p:txBody>
      </p:sp>
      <p:sp>
        <p:nvSpPr>
          <p:cNvPr id="70" name="CaixaDeTexto 69">
            <a:extLst>
              <a:ext uri="{FF2B5EF4-FFF2-40B4-BE49-F238E27FC236}">
                <a16:creationId xmlns:a16="http://schemas.microsoft.com/office/drawing/2014/main" id="{4A6007A3-B73E-3A8F-5C4B-82C1D4B9F4C1}"/>
              </a:ext>
            </a:extLst>
          </p:cNvPr>
          <p:cNvSpPr txBox="1"/>
          <p:nvPr/>
        </p:nvSpPr>
        <p:spPr>
          <a:xfrm>
            <a:off x="4150442" y="1072290"/>
            <a:ext cx="3758334" cy="33855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600" b="1" i="0" u="none" strike="noStrike" kern="0" cap="none" spc="0" normalizeH="0" baseline="0" noProof="0" dirty="0" err="1">
                <a:ln>
                  <a:noFill/>
                </a:ln>
                <a:solidFill>
                  <a:prstClr val="black"/>
                </a:solidFill>
                <a:effectLst/>
                <a:uLnTx/>
                <a:uFillTx/>
              </a:rPr>
              <a:t>Higher</a:t>
            </a:r>
            <a:r>
              <a:rPr kumimoji="0" lang="pt-BR" sz="1600" b="1" i="0" u="none" strike="noStrike" kern="0" cap="none" spc="0" normalizeH="0" baseline="0" noProof="0" dirty="0">
                <a:ln>
                  <a:noFill/>
                </a:ln>
                <a:solidFill>
                  <a:prstClr val="black"/>
                </a:solidFill>
                <a:effectLst/>
                <a:uLnTx/>
                <a:uFillTx/>
              </a:rPr>
              <a:t> Technical </a:t>
            </a:r>
            <a:r>
              <a:rPr kumimoji="0" lang="pt-BR" sz="1600" b="1" i="0" u="none" strike="noStrike" kern="0" cap="none" spc="0" normalizeH="0" baseline="0" noProof="0" dirty="0" err="1">
                <a:ln>
                  <a:noFill/>
                </a:ln>
                <a:solidFill>
                  <a:prstClr val="black"/>
                </a:solidFill>
                <a:effectLst/>
                <a:uLnTx/>
                <a:uFillTx/>
              </a:rPr>
              <a:t>Maturity</a:t>
            </a:r>
            <a:endParaRPr kumimoji="0" lang="pt-BR" sz="1600" b="1" i="0" u="none" strike="noStrike" kern="0" cap="none" spc="0" normalizeH="0" baseline="0" noProof="0" dirty="0">
              <a:ln>
                <a:noFill/>
              </a:ln>
              <a:solidFill>
                <a:prstClr val="black"/>
              </a:solidFill>
              <a:effectLst/>
              <a:uLnTx/>
              <a:uFillTx/>
            </a:endParaRPr>
          </a:p>
        </p:txBody>
      </p:sp>
      <p:sp>
        <p:nvSpPr>
          <p:cNvPr id="71" name="CaixaDeTexto 70">
            <a:extLst>
              <a:ext uri="{FF2B5EF4-FFF2-40B4-BE49-F238E27FC236}">
                <a16:creationId xmlns:a16="http://schemas.microsoft.com/office/drawing/2014/main" id="{0F89F0C3-BB4A-4D3F-C7F8-2EABFD6ED675}"/>
              </a:ext>
            </a:extLst>
          </p:cNvPr>
          <p:cNvSpPr txBox="1"/>
          <p:nvPr/>
        </p:nvSpPr>
        <p:spPr>
          <a:xfrm>
            <a:off x="4479086" y="1673410"/>
            <a:ext cx="3005637" cy="33855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600" b="1" i="0" u="none" strike="noStrike" kern="0" cap="none" spc="0" normalizeH="0" baseline="0" noProof="0" dirty="0" err="1">
                <a:ln>
                  <a:noFill/>
                </a:ln>
                <a:solidFill>
                  <a:prstClr val="black"/>
                </a:solidFill>
                <a:effectLst/>
                <a:uLnTx/>
                <a:uFillTx/>
              </a:rPr>
              <a:t>Better</a:t>
            </a:r>
            <a:r>
              <a:rPr kumimoji="0" lang="pt-BR" sz="1600" b="1" i="0" u="none" strike="noStrike" kern="0" cap="none" spc="0" normalizeH="0" baseline="0" noProof="0" dirty="0">
                <a:ln>
                  <a:noFill/>
                </a:ln>
                <a:solidFill>
                  <a:prstClr val="black"/>
                </a:solidFill>
                <a:effectLst/>
                <a:uLnTx/>
                <a:uFillTx/>
              </a:rPr>
              <a:t> </a:t>
            </a:r>
            <a:r>
              <a:rPr kumimoji="0" lang="pt-BR" sz="1600" b="1" i="0" u="none" strike="noStrike" kern="0" cap="none" spc="0" normalizeH="0" baseline="0" noProof="0" dirty="0" err="1">
                <a:ln>
                  <a:noFill/>
                </a:ln>
                <a:solidFill>
                  <a:prstClr val="black"/>
                </a:solidFill>
                <a:effectLst/>
                <a:uLnTx/>
                <a:uFillTx/>
              </a:rPr>
              <a:t>Cost</a:t>
            </a:r>
            <a:r>
              <a:rPr kumimoji="0" lang="pt-BR" sz="1600" b="1" i="0" u="none" strike="noStrike" kern="0" cap="none" spc="0" normalizeH="0" baseline="0" noProof="0" dirty="0">
                <a:ln>
                  <a:noFill/>
                </a:ln>
                <a:solidFill>
                  <a:prstClr val="black"/>
                </a:solidFill>
                <a:effectLst/>
                <a:uLnTx/>
                <a:uFillTx/>
              </a:rPr>
              <a:t> </a:t>
            </a:r>
            <a:r>
              <a:rPr kumimoji="0" lang="pt-BR" sz="1600" b="1" i="0" u="none" strike="noStrike" kern="0" cap="none" spc="0" normalizeH="0" baseline="0" noProof="0" dirty="0" err="1">
                <a:ln>
                  <a:noFill/>
                </a:ln>
                <a:solidFill>
                  <a:prstClr val="black"/>
                </a:solidFill>
                <a:effectLst/>
                <a:uLnTx/>
                <a:uFillTx/>
              </a:rPr>
              <a:t>Effectiveness</a:t>
            </a:r>
            <a:endParaRPr kumimoji="0" lang="pt-BR" sz="1600" b="1" i="0" u="none" strike="noStrike" kern="0" cap="none" spc="0" normalizeH="0" baseline="0" noProof="0" dirty="0">
              <a:ln>
                <a:noFill/>
              </a:ln>
              <a:solidFill>
                <a:prstClr val="black"/>
              </a:solidFill>
              <a:effectLst/>
              <a:uLnTx/>
              <a:uFillTx/>
            </a:endParaRPr>
          </a:p>
        </p:txBody>
      </p:sp>
      <p:sp>
        <p:nvSpPr>
          <p:cNvPr id="73" name="Retângulo 72">
            <a:extLst>
              <a:ext uri="{FF2B5EF4-FFF2-40B4-BE49-F238E27FC236}">
                <a16:creationId xmlns:a16="http://schemas.microsoft.com/office/drawing/2014/main" id="{6AAF7838-4002-F9F4-BF8C-EF34AA23C292}"/>
              </a:ext>
            </a:extLst>
          </p:cNvPr>
          <p:cNvSpPr/>
          <p:nvPr/>
        </p:nvSpPr>
        <p:spPr>
          <a:xfrm>
            <a:off x="4276202" y="2251846"/>
            <a:ext cx="3696008" cy="2692914"/>
          </a:xfrm>
          <a:prstGeom prst="rect">
            <a:avLst/>
          </a:prstGeom>
          <a:solidFill>
            <a:schemeClr val="accent5">
              <a:lumMod val="60000"/>
              <a:lumOff val="40000"/>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74" name="Retângulo 73">
            <a:extLst>
              <a:ext uri="{FF2B5EF4-FFF2-40B4-BE49-F238E27FC236}">
                <a16:creationId xmlns:a16="http://schemas.microsoft.com/office/drawing/2014/main" id="{AA994D03-3704-8A89-2127-19AC17A375B6}"/>
              </a:ext>
            </a:extLst>
          </p:cNvPr>
          <p:cNvSpPr/>
          <p:nvPr/>
        </p:nvSpPr>
        <p:spPr>
          <a:xfrm>
            <a:off x="8156853" y="1450408"/>
            <a:ext cx="3613072" cy="2103160"/>
          </a:xfrm>
          <a:prstGeom prst="rect">
            <a:avLst/>
          </a:prstGeom>
          <a:solidFill>
            <a:schemeClr val="accent3">
              <a:lumMod val="40000"/>
              <a:lumOff val="60000"/>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76" name="Retângulo 75">
            <a:extLst>
              <a:ext uri="{FF2B5EF4-FFF2-40B4-BE49-F238E27FC236}">
                <a16:creationId xmlns:a16="http://schemas.microsoft.com/office/drawing/2014/main" id="{5A9DB128-EA99-4A33-3ADC-B0AE654F45F3}"/>
              </a:ext>
            </a:extLst>
          </p:cNvPr>
          <p:cNvSpPr/>
          <p:nvPr/>
        </p:nvSpPr>
        <p:spPr>
          <a:xfrm>
            <a:off x="8190904" y="1448730"/>
            <a:ext cx="3613072" cy="2103160"/>
          </a:xfrm>
          <a:prstGeom prst="rect">
            <a:avLst/>
          </a:prstGeom>
          <a:solidFill>
            <a:schemeClr val="accent3">
              <a:lumMod val="40000"/>
              <a:lumOff val="60000"/>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77" name="Isosceles Triangle 1">
            <a:extLst>
              <a:ext uri="{FF2B5EF4-FFF2-40B4-BE49-F238E27FC236}">
                <a16:creationId xmlns:a16="http://schemas.microsoft.com/office/drawing/2014/main" id="{950B964B-8A32-9749-68C2-A20DEA887102}"/>
              </a:ext>
            </a:extLst>
          </p:cNvPr>
          <p:cNvSpPr/>
          <p:nvPr/>
        </p:nvSpPr>
        <p:spPr>
          <a:xfrm rot="15411933">
            <a:off x="6091974" y="-1161445"/>
            <a:ext cx="480216" cy="13327499"/>
          </a:xfrm>
          <a:custGeom>
            <a:avLst/>
            <a:gdLst>
              <a:gd name="connsiteX0" fmla="*/ 0 w 497149"/>
              <a:gd name="connsiteY0" fmla="*/ 12711530 h 12711530"/>
              <a:gd name="connsiteX1" fmla="*/ 248575 w 497149"/>
              <a:gd name="connsiteY1" fmla="*/ 0 h 12711530"/>
              <a:gd name="connsiteX2" fmla="*/ 497149 w 497149"/>
              <a:gd name="connsiteY2" fmla="*/ 12711530 h 12711530"/>
              <a:gd name="connsiteX3" fmla="*/ 0 w 497149"/>
              <a:gd name="connsiteY3" fmla="*/ 12711530 h 12711530"/>
              <a:gd name="connsiteX0" fmla="*/ 0 w 511346"/>
              <a:gd name="connsiteY0" fmla="*/ 12904160 h 12904160"/>
              <a:gd name="connsiteX1" fmla="*/ 262772 w 511346"/>
              <a:gd name="connsiteY1" fmla="*/ 0 h 12904160"/>
              <a:gd name="connsiteX2" fmla="*/ 511346 w 511346"/>
              <a:gd name="connsiteY2" fmla="*/ 12711530 h 12904160"/>
              <a:gd name="connsiteX3" fmla="*/ 0 w 511346"/>
              <a:gd name="connsiteY3" fmla="*/ 12904160 h 12904160"/>
              <a:gd name="connsiteX0" fmla="*/ 0 w 511346"/>
              <a:gd name="connsiteY0" fmla="*/ 12904160 h 12904160"/>
              <a:gd name="connsiteX1" fmla="*/ 19994 w 511346"/>
              <a:gd name="connsiteY1" fmla="*/ 12210210 h 12904160"/>
              <a:gd name="connsiteX2" fmla="*/ 262772 w 511346"/>
              <a:gd name="connsiteY2" fmla="*/ 0 h 12904160"/>
              <a:gd name="connsiteX3" fmla="*/ 511346 w 511346"/>
              <a:gd name="connsiteY3" fmla="*/ 12711530 h 12904160"/>
              <a:gd name="connsiteX4" fmla="*/ 0 w 511346"/>
              <a:gd name="connsiteY4" fmla="*/ 12904160 h 12904160"/>
              <a:gd name="connsiteX0" fmla="*/ 218817 w 491352"/>
              <a:gd name="connsiteY0" fmla="*/ 12808673 h 12808673"/>
              <a:gd name="connsiteX1" fmla="*/ 0 w 491352"/>
              <a:gd name="connsiteY1" fmla="*/ 12210210 h 12808673"/>
              <a:gd name="connsiteX2" fmla="*/ 242778 w 491352"/>
              <a:gd name="connsiteY2" fmla="*/ 0 h 12808673"/>
              <a:gd name="connsiteX3" fmla="*/ 491352 w 491352"/>
              <a:gd name="connsiteY3" fmla="*/ 12711530 h 12808673"/>
              <a:gd name="connsiteX4" fmla="*/ 218817 w 491352"/>
              <a:gd name="connsiteY4" fmla="*/ 12808673 h 12808673"/>
              <a:gd name="connsiteX0" fmla="*/ 227598 w 491352"/>
              <a:gd name="connsiteY0" fmla="*/ 12813794 h 12813794"/>
              <a:gd name="connsiteX1" fmla="*/ 0 w 491352"/>
              <a:gd name="connsiteY1" fmla="*/ 12210210 h 12813794"/>
              <a:gd name="connsiteX2" fmla="*/ 242778 w 491352"/>
              <a:gd name="connsiteY2" fmla="*/ 0 h 12813794"/>
              <a:gd name="connsiteX3" fmla="*/ 491352 w 491352"/>
              <a:gd name="connsiteY3" fmla="*/ 12711530 h 12813794"/>
              <a:gd name="connsiteX4" fmla="*/ 227598 w 491352"/>
              <a:gd name="connsiteY4" fmla="*/ 12813794 h 12813794"/>
              <a:gd name="connsiteX0" fmla="*/ 227598 w 500615"/>
              <a:gd name="connsiteY0" fmla="*/ 12813794 h 12813794"/>
              <a:gd name="connsiteX1" fmla="*/ 0 w 500615"/>
              <a:gd name="connsiteY1" fmla="*/ 12210210 h 12813794"/>
              <a:gd name="connsiteX2" fmla="*/ 242778 w 500615"/>
              <a:gd name="connsiteY2" fmla="*/ 0 h 12813794"/>
              <a:gd name="connsiteX3" fmla="*/ 500615 w 500615"/>
              <a:gd name="connsiteY3" fmla="*/ 12745676 h 12813794"/>
              <a:gd name="connsiteX4" fmla="*/ 227598 w 500615"/>
              <a:gd name="connsiteY4" fmla="*/ 12813794 h 12813794"/>
              <a:gd name="connsiteX0" fmla="*/ 163606 w 500615"/>
              <a:gd name="connsiteY0" fmla="*/ 12837482 h 12837482"/>
              <a:gd name="connsiteX1" fmla="*/ 0 w 500615"/>
              <a:gd name="connsiteY1" fmla="*/ 12210210 h 12837482"/>
              <a:gd name="connsiteX2" fmla="*/ 242778 w 500615"/>
              <a:gd name="connsiteY2" fmla="*/ 0 h 12837482"/>
              <a:gd name="connsiteX3" fmla="*/ 500615 w 500615"/>
              <a:gd name="connsiteY3" fmla="*/ 12745676 h 12837482"/>
              <a:gd name="connsiteX4" fmla="*/ 163606 w 500615"/>
              <a:gd name="connsiteY4" fmla="*/ 12837482 h 12837482"/>
              <a:gd name="connsiteX0" fmla="*/ 167716 w 504725"/>
              <a:gd name="connsiteY0" fmla="*/ 12837482 h 12837482"/>
              <a:gd name="connsiteX1" fmla="*/ 0 w 504725"/>
              <a:gd name="connsiteY1" fmla="*/ 12243730 h 12837482"/>
              <a:gd name="connsiteX2" fmla="*/ 246888 w 504725"/>
              <a:gd name="connsiteY2" fmla="*/ 0 h 12837482"/>
              <a:gd name="connsiteX3" fmla="*/ 504725 w 504725"/>
              <a:gd name="connsiteY3" fmla="*/ 12745676 h 12837482"/>
              <a:gd name="connsiteX4" fmla="*/ 167716 w 504725"/>
              <a:gd name="connsiteY4" fmla="*/ 12837482 h 12837482"/>
              <a:gd name="connsiteX0" fmla="*/ 236011 w 504725"/>
              <a:gd name="connsiteY0" fmla="*/ 12618751 h 12745676"/>
              <a:gd name="connsiteX1" fmla="*/ 0 w 504725"/>
              <a:gd name="connsiteY1" fmla="*/ 12243730 h 12745676"/>
              <a:gd name="connsiteX2" fmla="*/ 246888 w 504725"/>
              <a:gd name="connsiteY2" fmla="*/ 0 h 12745676"/>
              <a:gd name="connsiteX3" fmla="*/ 504725 w 504725"/>
              <a:gd name="connsiteY3" fmla="*/ 12745676 h 12745676"/>
              <a:gd name="connsiteX4" fmla="*/ 236011 w 504725"/>
              <a:gd name="connsiteY4" fmla="*/ 12618751 h 12745676"/>
              <a:gd name="connsiteX0" fmla="*/ 167715 w 504725"/>
              <a:gd name="connsiteY0" fmla="*/ 12837484 h 12837484"/>
              <a:gd name="connsiteX1" fmla="*/ 0 w 504725"/>
              <a:gd name="connsiteY1" fmla="*/ 12243730 h 12837484"/>
              <a:gd name="connsiteX2" fmla="*/ 246888 w 504725"/>
              <a:gd name="connsiteY2" fmla="*/ 0 h 12837484"/>
              <a:gd name="connsiteX3" fmla="*/ 504725 w 504725"/>
              <a:gd name="connsiteY3" fmla="*/ 12745676 h 12837484"/>
              <a:gd name="connsiteX4" fmla="*/ 167715 w 504725"/>
              <a:gd name="connsiteY4" fmla="*/ 12837484 h 12837484"/>
              <a:gd name="connsiteX0" fmla="*/ 168274 w 504725"/>
              <a:gd name="connsiteY0" fmla="*/ 12855771 h 12855771"/>
              <a:gd name="connsiteX1" fmla="*/ 0 w 504725"/>
              <a:gd name="connsiteY1" fmla="*/ 12243730 h 12855771"/>
              <a:gd name="connsiteX2" fmla="*/ 246888 w 504725"/>
              <a:gd name="connsiteY2" fmla="*/ 0 h 12855771"/>
              <a:gd name="connsiteX3" fmla="*/ 504725 w 504725"/>
              <a:gd name="connsiteY3" fmla="*/ 12745676 h 12855771"/>
              <a:gd name="connsiteX4" fmla="*/ 168274 w 504725"/>
              <a:gd name="connsiteY4" fmla="*/ 12855771 h 12855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725" h="12855771">
                <a:moveTo>
                  <a:pt x="168274" y="12855771"/>
                </a:moveTo>
                <a:lnTo>
                  <a:pt x="0" y="12243730"/>
                </a:lnTo>
                <a:lnTo>
                  <a:pt x="246888" y="0"/>
                </a:lnTo>
                <a:lnTo>
                  <a:pt x="504725" y="12745676"/>
                </a:lnTo>
                <a:lnTo>
                  <a:pt x="168274" y="12855771"/>
                </a:lnTo>
                <a:close/>
              </a:path>
            </a:pathLst>
          </a:custGeom>
          <a:solidFill>
            <a:schemeClr val="bg1">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79" name="CaixaDeTexto 78">
            <a:extLst>
              <a:ext uri="{FF2B5EF4-FFF2-40B4-BE49-F238E27FC236}">
                <a16:creationId xmlns:a16="http://schemas.microsoft.com/office/drawing/2014/main" id="{A6D6882D-22AD-D63F-29EB-B6E7E65E5CF3}"/>
              </a:ext>
            </a:extLst>
          </p:cNvPr>
          <p:cNvSpPr txBox="1"/>
          <p:nvPr/>
        </p:nvSpPr>
        <p:spPr>
          <a:xfrm>
            <a:off x="4173794" y="2554069"/>
            <a:ext cx="6779341" cy="1107996"/>
          </a:xfrm>
          <a:prstGeom prst="rect">
            <a:avLst/>
          </a:prstGeom>
          <a:solidFill>
            <a:srgbClr val="008542"/>
          </a:solidFill>
          <a:ln>
            <a:solidFill>
              <a:srgbClr val="00B050"/>
            </a:solidFill>
          </a:ln>
        </p:spPr>
        <p:txBody>
          <a:bodyPr wrap="square">
            <a:spAutoFit/>
          </a:bodyPr>
          <a:lstStyle/>
          <a:p>
            <a:pPr algn="just"/>
            <a:r>
              <a:rPr lang="en-US" sz="2200" b="1" dirty="0">
                <a:solidFill>
                  <a:schemeClr val="bg1"/>
                </a:solidFill>
              </a:rPr>
              <a:t>Emissions avoided (technology implemented): 21,038 t CO2 </a:t>
            </a:r>
          </a:p>
          <a:p>
            <a:pPr algn="just"/>
            <a:r>
              <a:rPr lang="en-US" sz="2200" b="1" dirty="0">
                <a:solidFill>
                  <a:schemeClr val="bg1"/>
                </a:solidFill>
              </a:rPr>
              <a:t>Period: 2022 to 2025</a:t>
            </a:r>
            <a:endParaRPr lang="pt-BR" sz="2200" b="1" dirty="0">
              <a:solidFill>
                <a:schemeClr val="bg1"/>
              </a:solidFill>
            </a:endParaRPr>
          </a:p>
        </p:txBody>
      </p:sp>
    </p:spTree>
    <p:extLst>
      <p:ext uri="{BB962C8B-B14F-4D97-AF65-F5344CB8AC3E}">
        <p14:creationId xmlns:p14="http://schemas.microsoft.com/office/powerpoint/2010/main" val="185696371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79"/>
                                        </p:tgtEl>
                                        <p:attrNameLst>
                                          <p:attrName>style.visibility</p:attrName>
                                        </p:attrNameLst>
                                      </p:cBhvr>
                                      <p:to>
                                        <p:strVal val="visible"/>
                                      </p:to>
                                    </p:set>
                                    <p:animEffect transition="in" filter="fade">
                                      <p:cBhvr>
                                        <p:cTn id="7" dur="1000"/>
                                        <p:tgtEl>
                                          <p:spTgt spid="79"/>
                                        </p:tgtEl>
                                      </p:cBhvr>
                                    </p:animEffect>
                                    <p:anim calcmode="lin" valueType="num">
                                      <p:cBhvr>
                                        <p:cTn id="8" dur="1000" fill="hold"/>
                                        <p:tgtEl>
                                          <p:spTgt spid="79"/>
                                        </p:tgtEl>
                                        <p:attrNameLst>
                                          <p:attrName>ppt_x</p:attrName>
                                        </p:attrNameLst>
                                      </p:cBhvr>
                                      <p:tavLst>
                                        <p:tav tm="0">
                                          <p:val>
                                            <p:strVal val="#ppt_x"/>
                                          </p:val>
                                        </p:tav>
                                        <p:tav tm="100000">
                                          <p:val>
                                            <p:strVal val="#ppt_x"/>
                                          </p:val>
                                        </p:tav>
                                      </p:tavLst>
                                    </p:anim>
                                    <p:anim calcmode="lin" valueType="num">
                                      <p:cBhvr>
                                        <p:cTn id="9" dur="1000" fill="hold"/>
                                        <p:tgtEl>
                                          <p:spTgt spid="7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6A14BF-D7C3-BA4C-0A4F-3A81722B4FE2}"/>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E60896E6-57C7-6F94-1C84-AE0547B8883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4" imgW="592" imgH="591" progId="TCLayout.ActiveDocument.1">
                  <p:embed/>
                </p:oleObj>
              </mc:Choice>
              <mc:Fallback>
                <p:oleObj name="Slide do think-cell" r:id="rId4" imgW="592" imgH="591" progId="TCLayout.ActiveDocument.1">
                  <p:embed/>
                  <p:pic>
                    <p:nvPicPr>
                      <p:cNvPr id="18" name="think-cell data - do not delete" hidden="1">
                        <a:extLst>
                          <a:ext uri="{FF2B5EF4-FFF2-40B4-BE49-F238E27FC236}">
                            <a16:creationId xmlns:a16="http://schemas.microsoft.com/office/drawing/2014/main" id="{E60896E6-57C7-6F94-1C84-AE0547B8883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4" name="Gráfico 23">
            <a:extLst>
              <a:ext uri="{FF2B5EF4-FFF2-40B4-BE49-F238E27FC236}">
                <a16:creationId xmlns:a16="http://schemas.microsoft.com/office/drawing/2014/main" id="{D7CC95D4-764B-6BA3-72F9-2A9AB43FAAED}"/>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0" y="0"/>
            <a:ext cx="12192000" cy="6858000"/>
          </a:xfrm>
          <a:prstGeom prst="rect">
            <a:avLst/>
          </a:prstGeom>
        </p:spPr>
      </p:pic>
      <p:grpSp>
        <p:nvGrpSpPr>
          <p:cNvPr id="31" name="Agrupar 30">
            <a:extLst>
              <a:ext uri="{FF2B5EF4-FFF2-40B4-BE49-F238E27FC236}">
                <a16:creationId xmlns:a16="http://schemas.microsoft.com/office/drawing/2014/main" id="{423E8E04-8C04-213D-84F2-F34F252FD9AA}"/>
              </a:ext>
            </a:extLst>
          </p:cNvPr>
          <p:cNvGrpSpPr/>
          <p:nvPr/>
        </p:nvGrpSpPr>
        <p:grpSpPr>
          <a:xfrm>
            <a:off x="0" y="0"/>
            <a:ext cx="12192000" cy="6556877"/>
            <a:chOff x="0" y="0"/>
            <a:chExt cx="12192000" cy="6556877"/>
          </a:xfrm>
        </p:grpSpPr>
        <p:pic>
          <p:nvPicPr>
            <p:cNvPr id="26" name="Gráfico 25">
              <a:extLst>
                <a:ext uri="{FF2B5EF4-FFF2-40B4-BE49-F238E27FC236}">
                  <a16:creationId xmlns:a16="http://schemas.microsoft.com/office/drawing/2014/main" id="{A97ED7F2-0FBA-4CCD-8B88-6D746BD5DE69}"/>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0" y="4839694"/>
              <a:ext cx="12192000" cy="1717183"/>
            </a:xfrm>
            <a:prstGeom prst="rect">
              <a:avLst/>
            </a:prstGeom>
          </p:spPr>
        </p:pic>
        <p:sp>
          <p:nvSpPr>
            <p:cNvPr id="30" name="Retângulo 29">
              <a:extLst>
                <a:ext uri="{FF2B5EF4-FFF2-40B4-BE49-F238E27FC236}">
                  <a16:creationId xmlns:a16="http://schemas.microsoft.com/office/drawing/2014/main" id="{8F37BF35-F75A-CC90-2A82-5836579327F2}"/>
                </a:ext>
              </a:extLst>
            </p:cNvPr>
            <p:cNvSpPr/>
            <p:nvPr/>
          </p:nvSpPr>
          <p:spPr>
            <a:xfrm>
              <a:off x="0" y="0"/>
              <a:ext cx="12192000" cy="519611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sp>
        <p:nvSpPr>
          <p:cNvPr id="15" name="Retângulo 14">
            <a:extLst>
              <a:ext uri="{FF2B5EF4-FFF2-40B4-BE49-F238E27FC236}">
                <a16:creationId xmlns:a16="http://schemas.microsoft.com/office/drawing/2014/main" id="{232D427B-77A5-170C-F5FF-F24CA396B08B}"/>
              </a:ext>
            </a:extLst>
          </p:cNvPr>
          <p:cNvSpPr>
            <a:spLocks noGrp="1" noRot="1" noMove="1" noResize="1" noEditPoints="1" noAdjustHandles="1" noChangeArrowheads="1" noChangeShapeType="1"/>
          </p:cNvSpPr>
          <p:nvPr/>
        </p:nvSpPr>
        <p:spPr>
          <a:xfrm>
            <a:off x="9418836" y="0"/>
            <a:ext cx="2773163" cy="99670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48" name="CaixaDeTexto 47">
            <a:extLst>
              <a:ext uri="{FF2B5EF4-FFF2-40B4-BE49-F238E27FC236}">
                <a16:creationId xmlns:a16="http://schemas.microsoft.com/office/drawing/2014/main" id="{2E56D85E-4452-5A01-F72D-E8CE282A6BF5}"/>
              </a:ext>
            </a:extLst>
          </p:cNvPr>
          <p:cNvSpPr txBox="1"/>
          <p:nvPr/>
        </p:nvSpPr>
        <p:spPr>
          <a:xfrm>
            <a:off x="336895" y="343109"/>
            <a:ext cx="9091711" cy="461665"/>
          </a:xfrm>
          <a:prstGeom prst="rect">
            <a:avLst/>
          </a:prstGeom>
          <a:noFill/>
        </p:spPr>
        <p:txBody>
          <a:bodyPr wrap="square">
            <a:spAutoFit/>
          </a:bodyPr>
          <a:lstStyle/>
          <a:p>
            <a:pPr lvl="0" defTabSz="1218832">
              <a:defRPr/>
            </a:pPr>
            <a:r>
              <a:rPr lang="en-US" sz="2400" b="1" dirty="0">
                <a:solidFill>
                  <a:srgbClr val="008542"/>
                </a:solidFill>
                <a:latin typeface="Trebuchet MS" panose="020B0703020202090204" pitchFamily="34" charset="0"/>
              </a:rPr>
              <a:t>TRANSPETRO - </a:t>
            </a:r>
            <a:r>
              <a:rPr kumimoji="0" lang="en-US" sz="2400" b="1" i="0" u="none" strike="noStrike" kern="1200" cap="none" spc="0" normalizeH="0" baseline="0" noProof="0" dirty="0">
                <a:ln>
                  <a:noFill/>
                </a:ln>
                <a:solidFill>
                  <a:srgbClr val="008542"/>
                </a:solidFill>
                <a:effectLst/>
                <a:uLnTx/>
                <a:uFillTx/>
                <a:latin typeface="Trebuchet MS" panose="020B0703020202090204" pitchFamily="34" charset="0"/>
                <a:ea typeface="+mn-ea"/>
                <a:cs typeface="+mn-cs"/>
              </a:rPr>
              <a:t>EXISTING FLEET</a:t>
            </a:r>
          </a:p>
        </p:txBody>
      </p:sp>
      <p:sp>
        <p:nvSpPr>
          <p:cNvPr id="49" name="Retângulo 48">
            <a:extLst>
              <a:ext uri="{FF2B5EF4-FFF2-40B4-BE49-F238E27FC236}">
                <a16:creationId xmlns:a16="http://schemas.microsoft.com/office/drawing/2014/main" id="{D04E818D-3150-8815-4452-FB98ED69B85E}"/>
              </a:ext>
            </a:extLst>
          </p:cNvPr>
          <p:cNvSpPr/>
          <p:nvPr/>
        </p:nvSpPr>
        <p:spPr>
          <a:xfrm>
            <a:off x="419378" y="848159"/>
            <a:ext cx="420421" cy="41563"/>
          </a:xfrm>
          <a:prstGeom prst="rect">
            <a:avLst/>
          </a:prstGeom>
          <a:solidFill>
            <a:srgbClr val="FDC6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Trebuchet MS" panose="020B0703020202090204" pitchFamily="34" charset="0"/>
              <a:ea typeface="+mn-ea"/>
              <a:cs typeface="+mn-cs"/>
            </a:endParaRPr>
          </a:p>
        </p:txBody>
      </p:sp>
      <p:grpSp>
        <p:nvGrpSpPr>
          <p:cNvPr id="8" name="Agrupar 7">
            <a:extLst>
              <a:ext uri="{FF2B5EF4-FFF2-40B4-BE49-F238E27FC236}">
                <a16:creationId xmlns:a16="http://schemas.microsoft.com/office/drawing/2014/main" id="{7F168E27-7AE5-0942-67E5-83FAD4A732B7}"/>
              </a:ext>
            </a:extLst>
          </p:cNvPr>
          <p:cNvGrpSpPr/>
          <p:nvPr/>
        </p:nvGrpSpPr>
        <p:grpSpPr>
          <a:xfrm>
            <a:off x="9920871" y="396837"/>
            <a:ext cx="1774444" cy="322756"/>
            <a:chOff x="16766445" y="10371568"/>
            <a:chExt cx="2926190" cy="532249"/>
          </a:xfrm>
        </p:grpSpPr>
        <p:sp>
          <p:nvSpPr>
            <p:cNvPr id="11" name="object 115">
              <a:extLst>
                <a:ext uri="{FF2B5EF4-FFF2-40B4-BE49-F238E27FC236}">
                  <a16:creationId xmlns:a16="http://schemas.microsoft.com/office/drawing/2014/main" id="{5756B989-D02E-C6C8-BA69-7178AD7CBBB9}"/>
                </a:ext>
              </a:extLst>
            </p:cNvPr>
            <p:cNvSpPr/>
            <p:nvPr/>
          </p:nvSpPr>
          <p:spPr>
            <a:xfrm>
              <a:off x="16766555" y="10561552"/>
              <a:ext cx="2926080" cy="342265"/>
            </a:xfrm>
            <a:custGeom>
              <a:avLst/>
              <a:gdLst/>
              <a:ahLst/>
              <a:cxnLst/>
              <a:rect l="l" t="t" r="r" b="b"/>
              <a:pathLst>
                <a:path w="2926080" h="342265">
                  <a:moveTo>
                    <a:pt x="846424" y="57034"/>
                  </a:moveTo>
                  <a:lnTo>
                    <a:pt x="781588" y="57034"/>
                  </a:lnTo>
                  <a:lnTo>
                    <a:pt x="740490" y="202192"/>
                  </a:lnTo>
                  <a:lnTo>
                    <a:pt x="804970" y="202192"/>
                  </a:lnTo>
                  <a:lnTo>
                    <a:pt x="846424" y="57034"/>
                  </a:lnTo>
                  <a:close/>
                </a:path>
                <a:path w="2926080" h="342265">
                  <a:moveTo>
                    <a:pt x="911637" y="176350"/>
                  </a:moveTo>
                  <a:lnTo>
                    <a:pt x="904537" y="202192"/>
                  </a:lnTo>
                  <a:lnTo>
                    <a:pt x="911637" y="202192"/>
                  </a:lnTo>
                  <a:lnTo>
                    <a:pt x="911637" y="176350"/>
                  </a:lnTo>
                  <a:close/>
                </a:path>
                <a:path w="2926080" h="342265">
                  <a:moveTo>
                    <a:pt x="1032073" y="5266"/>
                  </a:moveTo>
                  <a:lnTo>
                    <a:pt x="960494" y="5266"/>
                  </a:lnTo>
                  <a:lnTo>
                    <a:pt x="911637" y="176350"/>
                  </a:lnTo>
                  <a:lnTo>
                    <a:pt x="911637" y="202192"/>
                  </a:lnTo>
                  <a:lnTo>
                    <a:pt x="969017" y="202192"/>
                  </a:lnTo>
                  <a:lnTo>
                    <a:pt x="988462" y="133535"/>
                  </a:lnTo>
                  <a:lnTo>
                    <a:pt x="1032073" y="133535"/>
                  </a:lnTo>
                  <a:lnTo>
                    <a:pt x="1032073" y="90300"/>
                  </a:lnTo>
                  <a:lnTo>
                    <a:pt x="1000880" y="90300"/>
                  </a:lnTo>
                  <a:lnTo>
                    <a:pt x="1011854" y="50961"/>
                  </a:lnTo>
                  <a:lnTo>
                    <a:pt x="1032073" y="50961"/>
                  </a:lnTo>
                  <a:lnTo>
                    <a:pt x="1032073" y="5266"/>
                  </a:lnTo>
                  <a:close/>
                </a:path>
                <a:path w="2926080" h="342265">
                  <a:moveTo>
                    <a:pt x="1032073" y="171439"/>
                  </a:moveTo>
                  <a:lnTo>
                    <a:pt x="1029341" y="182273"/>
                  </a:lnTo>
                  <a:lnTo>
                    <a:pt x="1027494" y="191214"/>
                  </a:lnTo>
                  <a:lnTo>
                    <a:pt x="1026516" y="197956"/>
                  </a:lnTo>
                  <a:lnTo>
                    <a:pt x="1026387" y="202192"/>
                  </a:lnTo>
                  <a:lnTo>
                    <a:pt x="1032073" y="202192"/>
                  </a:lnTo>
                  <a:lnTo>
                    <a:pt x="1032073" y="171439"/>
                  </a:lnTo>
                  <a:close/>
                </a:path>
                <a:path w="2926080" h="342265">
                  <a:moveTo>
                    <a:pt x="1053643" y="5266"/>
                  </a:moveTo>
                  <a:lnTo>
                    <a:pt x="1032073" y="5266"/>
                  </a:lnTo>
                  <a:lnTo>
                    <a:pt x="1032073" y="50961"/>
                  </a:lnTo>
                  <a:lnTo>
                    <a:pt x="1041957" y="50961"/>
                  </a:lnTo>
                  <a:lnTo>
                    <a:pt x="1052136" y="52233"/>
                  </a:lnTo>
                  <a:lnTo>
                    <a:pt x="1059357" y="56065"/>
                  </a:lnTo>
                  <a:lnTo>
                    <a:pt x="1062931" y="62477"/>
                  </a:lnTo>
                  <a:lnTo>
                    <a:pt x="1062166" y="71495"/>
                  </a:lnTo>
                  <a:lnTo>
                    <a:pt x="1058448" y="79523"/>
                  </a:lnTo>
                  <a:lnTo>
                    <a:pt x="1052153" y="85158"/>
                  </a:lnTo>
                  <a:lnTo>
                    <a:pt x="1043342" y="88662"/>
                  </a:lnTo>
                  <a:lnTo>
                    <a:pt x="1032073" y="90300"/>
                  </a:lnTo>
                  <a:lnTo>
                    <a:pt x="1032073" y="138110"/>
                  </a:lnTo>
                  <a:lnTo>
                    <a:pt x="1035517" y="142655"/>
                  </a:lnTo>
                  <a:lnTo>
                    <a:pt x="1036578" y="148995"/>
                  </a:lnTo>
                  <a:lnTo>
                    <a:pt x="1035648" y="157338"/>
                  </a:lnTo>
                  <a:lnTo>
                    <a:pt x="1033120" y="167890"/>
                  </a:lnTo>
                  <a:lnTo>
                    <a:pt x="1032073" y="171439"/>
                  </a:lnTo>
                  <a:lnTo>
                    <a:pt x="1032073" y="202192"/>
                  </a:lnTo>
                  <a:lnTo>
                    <a:pt x="1091893" y="202192"/>
                  </a:lnTo>
                  <a:lnTo>
                    <a:pt x="1093673" y="196213"/>
                  </a:lnTo>
                  <a:lnTo>
                    <a:pt x="1089851" y="194484"/>
                  </a:lnTo>
                  <a:lnTo>
                    <a:pt x="1089574" y="188742"/>
                  </a:lnTo>
                  <a:lnTo>
                    <a:pt x="1092139" y="178155"/>
                  </a:lnTo>
                  <a:lnTo>
                    <a:pt x="1096846" y="161890"/>
                  </a:lnTo>
                  <a:lnTo>
                    <a:pt x="1101208" y="138020"/>
                  </a:lnTo>
                  <a:lnTo>
                    <a:pt x="1098638" y="123678"/>
                  </a:lnTo>
                  <a:lnTo>
                    <a:pt x="1090477" y="115329"/>
                  </a:lnTo>
                  <a:lnTo>
                    <a:pt x="1078071" y="109441"/>
                  </a:lnTo>
                  <a:lnTo>
                    <a:pt x="1094089" y="102911"/>
                  </a:lnTo>
                  <a:lnTo>
                    <a:pt x="1107053" y="92859"/>
                  </a:lnTo>
                  <a:lnTo>
                    <a:pt x="1116961" y="80026"/>
                  </a:lnTo>
                  <a:lnTo>
                    <a:pt x="1123808" y="65149"/>
                  </a:lnTo>
                  <a:lnTo>
                    <a:pt x="1123808" y="25465"/>
                  </a:lnTo>
                  <a:lnTo>
                    <a:pt x="1114887" y="16491"/>
                  </a:lnTo>
                  <a:lnTo>
                    <a:pt x="1100548" y="10194"/>
                  </a:lnTo>
                  <a:lnTo>
                    <a:pt x="1080298" y="6483"/>
                  </a:lnTo>
                  <a:lnTo>
                    <a:pt x="1053643" y="5266"/>
                  </a:lnTo>
                  <a:close/>
                </a:path>
                <a:path w="2926080" h="342265">
                  <a:moveTo>
                    <a:pt x="1123808" y="196213"/>
                  </a:moveTo>
                  <a:lnTo>
                    <a:pt x="1119882" y="202192"/>
                  </a:lnTo>
                  <a:lnTo>
                    <a:pt x="1123808" y="202192"/>
                  </a:lnTo>
                  <a:lnTo>
                    <a:pt x="1123808" y="196213"/>
                  </a:lnTo>
                  <a:close/>
                </a:path>
                <a:path w="2926080" h="342265">
                  <a:moveTo>
                    <a:pt x="1242443" y="11675"/>
                  </a:moveTo>
                  <a:lnTo>
                    <a:pt x="1123808" y="196213"/>
                  </a:lnTo>
                  <a:lnTo>
                    <a:pt x="1123808" y="202192"/>
                  </a:lnTo>
                  <a:lnTo>
                    <a:pt x="1183314" y="202192"/>
                  </a:lnTo>
                  <a:lnTo>
                    <a:pt x="1198172" y="176350"/>
                  </a:lnTo>
                  <a:lnTo>
                    <a:pt x="1242443" y="176350"/>
                  </a:lnTo>
                  <a:lnTo>
                    <a:pt x="1242443" y="135294"/>
                  </a:lnTo>
                  <a:lnTo>
                    <a:pt x="1221910" y="135294"/>
                  </a:lnTo>
                  <a:lnTo>
                    <a:pt x="1242443" y="99159"/>
                  </a:lnTo>
                  <a:lnTo>
                    <a:pt x="1242443" y="11675"/>
                  </a:lnTo>
                  <a:close/>
                </a:path>
                <a:path w="2926080" h="342265">
                  <a:moveTo>
                    <a:pt x="1316746" y="64458"/>
                  </a:moveTo>
                  <a:lnTo>
                    <a:pt x="1261940" y="64458"/>
                  </a:lnTo>
                  <a:lnTo>
                    <a:pt x="1262631" y="135294"/>
                  </a:lnTo>
                  <a:lnTo>
                    <a:pt x="1242443" y="135294"/>
                  </a:lnTo>
                  <a:lnTo>
                    <a:pt x="1242443" y="176350"/>
                  </a:lnTo>
                  <a:lnTo>
                    <a:pt x="1262296" y="176350"/>
                  </a:lnTo>
                  <a:lnTo>
                    <a:pt x="1262631" y="202192"/>
                  </a:lnTo>
                  <a:lnTo>
                    <a:pt x="1327153" y="202192"/>
                  </a:lnTo>
                  <a:lnTo>
                    <a:pt x="1316746" y="64458"/>
                  </a:lnTo>
                  <a:close/>
                </a:path>
                <a:path w="2926080" h="342265">
                  <a:moveTo>
                    <a:pt x="1032073" y="133535"/>
                  </a:moveTo>
                  <a:lnTo>
                    <a:pt x="1020356" y="133535"/>
                  </a:lnTo>
                  <a:lnTo>
                    <a:pt x="1027832" y="134938"/>
                  </a:lnTo>
                  <a:lnTo>
                    <a:pt x="1032073" y="138110"/>
                  </a:lnTo>
                  <a:lnTo>
                    <a:pt x="1032073" y="133535"/>
                  </a:lnTo>
                  <a:close/>
                </a:path>
                <a:path w="2926080" h="342265">
                  <a:moveTo>
                    <a:pt x="1312274" y="5266"/>
                  </a:moveTo>
                  <a:lnTo>
                    <a:pt x="1246695" y="5266"/>
                  </a:lnTo>
                  <a:lnTo>
                    <a:pt x="1242443" y="11675"/>
                  </a:lnTo>
                  <a:lnTo>
                    <a:pt x="1242443" y="99159"/>
                  </a:lnTo>
                  <a:lnTo>
                    <a:pt x="1261940" y="64458"/>
                  </a:lnTo>
                  <a:lnTo>
                    <a:pt x="1316746" y="64458"/>
                  </a:lnTo>
                  <a:lnTo>
                    <a:pt x="1312274" y="5266"/>
                  </a:lnTo>
                  <a:close/>
                </a:path>
                <a:path w="2926080" h="342265">
                  <a:moveTo>
                    <a:pt x="1123808" y="25465"/>
                  </a:moveTo>
                  <a:lnTo>
                    <a:pt x="1123808" y="65149"/>
                  </a:lnTo>
                  <a:lnTo>
                    <a:pt x="1124824" y="61254"/>
                  </a:lnTo>
                  <a:lnTo>
                    <a:pt x="1127276" y="50638"/>
                  </a:lnTo>
                  <a:lnTo>
                    <a:pt x="1128058" y="41113"/>
                  </a:lnTo>
                  <a:lnTo>
                    <a:pt x="1126969" y="32712"/>
                  </a:lnTo>
                  <a:lnTo>
                    <a:pt x="1123808" y="25465"/>
                  </a:lnTo>
                  <a:close/>
                </a:path>
                <a:path w="2926080" h="342265">
                  <a:moveTo>
                    <a:pt x="911637" y="5266"/>
                  </a:moveTo>
                  <a:lnTo>
                    <a:pt x="738354" y="5266"/>
                  </a:lnTo>
                  <a:lnTo>
                    <a:pt x="723517" y="57034"/>
                  </a:lnTo>
                  <a:lnTo>
                    <a:pt x="904537" y="57034"/>
                  </a:lnTo>
                  <a:lnTo>
                    <a:pt x="911637" y="31150"/>
                  </a:lnTo>
                  <a:lnTo>
                    <a:pt x="911637" y="5266"/>
                  </a:lnTo>
                  <a:close/>
                </a:path>
                <a:path w="2926080" h="342265">
                  <a:moveTo>
                    <a:pt x="919040" y="5266"/>
                  </a:moveTo>
                  <a:lnTo>
                    <a:pt x="911637" y="5266"/>
                  </a:lnTo>
                  <a:lnTo>
                    <a:pt x="911637" y="31150"/>
                  </a:lnTo>
                  <a:lnTo>
                    <a:pt x="919040" y="5266"/>
                  </a:lnTo>
                  <a:close/>
                </a:path>
                <a:path w="2926080" h="342265">
                  <a:moveTo>
                    <a:pt x="1678168" y="141660"/>
                  </a:moveTo>
                  <a:lnTo>
                    <a:pt x="1616526" y="141660"/>
                  </a:lnTo>
                  <a:lnTo>
                    <a:pt x="1616162" y="166898"/>
                  </a:lnTo>
                  <a:lnTo>
                    <a:pt x="1627883" y="187885"/>
                  </a:lnTo>
                  <a:lnTo>
                    <a:pt x="1651025" y="202230"/>
                  </a:lnTo>
                  <a:lnTo>
                    <a:pt x="1684922" y="207543"/>
                  </a:lnTo>
                  <a:lnTo>
                    <a:pt x="1723576" y="203340"/>
                  </a:lnTo>
                  <a:lnTo>
                    <a:pt x="1756382" y="190666"/>
                  </a:lnTo>
                  <a:lnTo>
                    <a:pt x="1781352" y="169430"/>
                  </a:lnTo>
                  <a:lnTo>
                    <a:pt x="1785014" y="162204"/>
                  </a:lnTo>
                  <a:lnTo>
                    <a:pt x="1695204" y="162204"/>
                  </a:lnTo>
                  <a:lnTo>
                    <a:pt x="1688786" y="160445"/>
                  </a:lnTo>
                  <a:lnTo>
                    <a:pt x="1684535" y="157230"/>
                  </a:lnTo>
                  <a:lnTo>
                    <a:pt x="1679959" y="153723"/>
                  </a:lnTo>
                  <a:lnTo>
                    <a:pt x="1677833" y="148749"/>
                  </a:lnTo>
                  <a:lnTo>
                    <a:pt x="1678168" y="141660"/>
                  </a:lnTo>
                  <a:close/>
                </a:path>
                <a:path w="2926080" h="342265">
                  <a:moveTo>
                    <a:pt x="1746575" y="0"/>
                  </a:moveTo>
                  <a:lnTo>
                    <a:pt x="1711326" y="3919"/>
                  </a:lnTo>
                  <a:lnTo>
                    <a:pt x="1680889" y="15702"/>
                  </a:lnTo>
                  <a:lnTo>
                    <a:pt x="1657433" y="35387"/>
                  </a:lnTo>
                  <a:lnTo>
                    <a:pt x="1643122" y="63013"/>
                  </a:lnTo>
                  <a:lnTo>
                    <a:pt x="1645061" y="97763"/>
                  </a:lnTo>
                  <a:lnTo>
                    <a:pt x="1667805" y="116579"/>
                  </a:lnTo>
                  <a:lnTo>
                    <a:pt x="1698502" y="126487"/>
                  </a:lnTo>
                  <a:lnTo>
                    <a:pt x="1724299" y="134513"/>
                  </a:lnTo>
                  <a:lnTo>
                    <a:pt x="1732345" y="147681"/>
                  </a:lnTo>
                  <a:lnTo>
                    <a:pt x="1728800" y="153837"/>
                  </a:lnTo>
                  <a:lnTo>
                    <a:pt x="1722156" y="158398"/>
                  </a:lnTo>
                  <a:lnTo>
                    <a:pt x="1712914" y="161231"/>
                  </a:lnTo>
                  <a:lnTo>
                    <a:pt x="1701571" y="162204"/>
                  </a:lnTo>
                  <a:lnTo>
                    <a:pt x="1785014" y="162204"/>
                  </a:lnTo>
                  <a:lnTo>
                    <a:pt x="1796500" y="139535"/>
                  </a:lnTo>
                  <a:lnTo>
                    <a:pt x="1789973" y="100529"/>
                  </a:lnTo>
                  <a:lnTo>
                    <a:pt x="1756214" y="82271"/>
                  </a:lnTo>
                  <a:lnTo>
                    <a:pt x="1720204" y="71914"/>
                  </a:lnTo>
                  <a:lnTo>
                    <a:pt x="1706921" y="56616"/>
                  </a:lnTo>
                  <a:lnTo>
                    <a:pt x="1709501" y="51864"/>
                  </a:lnTo>
                  <a:lnTo>
                    <a:pt x="1714227" y="48312"/>
                  </a:lnTo>
                  <a:lnTo>
                    <a:pt x="1721219" y="46087"/>
                  </a:lnTo>
                  <a:lnTo>
                    <a:pt x="1730596" y="45317"/>
                  </a:lnTo>
                  <a:lnTo>
                    <a:pt x="1812738" y="45317"/>
                  </a:lnTo>
                  <a:lnTo>
                    <a:pt x="1812563" y="38086"/>
                  </a:lnTo>
                  <a:lnTo>
                    <a:pt x="1802310" y="18274"/>
                  </a:lnTo>
                  <a:lnTo>
                    <a:pt x="1780832" y="4905"/>
                  </a:lnTo>
                  <a:lnTo>
                    <a:pt x="1746575" y="0"/>
                  </a:lnTo>
                  <a:close/>
                </a:path>
                <a:path w="2926080" h="342265">
                  <a:moveTo>
                    <a:pt x="1812738" y="45317"/>
                  </a:moveTo>
                  <a:lnTo>
                    <a:pt x="1737004" y="45317"/>
                  </a:lnTo>
                  <a:lnTo>
                    <a:pt x="1742292" y="46386"/>
                  </a:lnTo>
                  <a:lnTo>
                    <a:pt x="1750135" y="51338"/>
                  </a:lnTo>
                  <a:lnTo>
                    <a:pt x="1752574" y="55621"/>
                  </a:lnTo>
                  <a:lnTo>
                    <a:pt x="1751883" y="62322"/>
                  </a:lnTo>
                  <a:lnTo>
                    <a:pt x="1813148" y="62322"/>
                  </a:lnTo>
                  <a:lnTo>
                    <a:pt x="1812738" y="45317"/>
                  </a:lnTo>
                  <a:close/>
                </a:path>
                <a:path w="2926080" h="342265">
                  <a:moveTo>
                    <a:pt x="1481232" y="5266"/>
                  </a:moveTo>
                  <a:lnTo>
                    <a:pt x="1421035" y="5266"/>
                  </a:lnTo>
                  <a:lnTo>
                    <a:pt x="1365036" y="202192"/>
                  </a:lnTo>
                  <a:lnTo>
                    <a:pt x="1427014" y="202192"/>
                  </a:lnTo>
                  <a:lnTo>
                    <a:pt x="1444395" y="139911"/>
                  </a:lnTo>
                  <a:lnTo>
                    <a:pt x="1454678" y="94876"/>
                  </a:lnTo>
                  <a:lnTo>
                    <a:pt x="1514618" y="94876"/>
                  </a:lnTo>
                  <a:lnTo>
                    <a:pt x="1481232" y="5266"/>
                  </a:lnTo>
                  <a:close/>
                </a:path>
                <a:path w="2926080" h="342265">
                  <a:moveTo>
                    <a:pt x="1514618" y="94876"/>
                  </a:moveTo>
                  <a:lnTo>
                    <a:pt x="1454678" y="94876"/>
                  </a:lnTo>
                  <a:lnTo>
                    <a:pt x="1494666" y="202192"/>
                  </a:lnTo>
                  <a:lnTo>
                    <a:pt x="1555282" y="202192"/>
                  </a:lnTo>
                  <a:lnTo>
                    <a:pt x="1580728" y="112624"/>
                  </a:lnTo>
                  <a:lnTo>
                    <a:pt x="1521231" y="112624"/>
                  </a:lnTo>
                  <a:lnTo>
                    <a:pt x="1514618" y="94876"/>
                  </a:lnTo>
                  <a:close/>
                </a:path>
                <a:path w="2926080" h="342265">
                  <a:moveTo>
                    <a:pt x="1611228" y="5266"/>
                  </a:moveTo>
                  <a:lnTo>
                    <a:pt x="1549251" y="5266"/>
                  </a:lnTo>
                  <a:lnTo>
                    <a:pt x="1531555" y="67987"/>
                  </a:lnTo>
                  <a:lnTo>
                    <a:pt x="1521231" y="112624"/>
                  </a:lnTo>
                  <a:lnTo>
                    <a:pt x="1580728" y="112624"/>
                  </a:lnTo>
                  <a:lnTo>
                    <a:pt x="1611228" y="5266"/>
                  </a:lnTo>
                  <a:close/>
                </a:path>
                <a:path w="2926080" h="342265">
                  <a:moveTo>
                    <a:pt x="1944935" y="5266"/>
                  </a:moveTo>
                  <a:lnTo>
                    <a:pt x="1875503" y="5266"/>
                  </a:lnTo>
                  <a:lnTo>
                    <a:pt x="1819546" y="202192"/>
                  </a:lnTo>
                  <a:lnTo>
                    <a:pt x="1884340" y="202192"/>
                  </a:lnTo>
                  <a:lnTo>
                    <a:pt x="1901722" y="140980"/>
                  </a:lnTo>
                  <a:lnTo>
                    <a:pt x="1941385" y="140980"/>
                  </a:lnTo>
                  <a:lnTo>
                    <a:pt x="1944935" y="140634"/>
                  </a:lnTo>
                  <a:lnTo>
                    <a:pt x="1944935" y="94876"/>
                  </a:lnTo>
                  <a:lnTo>
                    <a:pt x="1914800" y="94876"/>
                  </a:lnTo>
                  <a:lnTo>
                    <a:pt x="1927218" y="50961"/>
                  </a:lnTo>
                  <a:lnTo>
                    <a:pt x="1944935" y="50961"/>
                  </a:lnTo>
                  <a:lnTo>
                    <a:pt x="1944935" y="5266"/>
                  </a:lnTo>
                  <a:close/>
                </a:path>
                <a:path w="2926080" h="342265">
                  <a:moveTo>
                    <a:pt x="1970756" y="5266"/>
                  </a:moveTo>
                  <a:lnTo>
                    <a:pt x="1944935" y="5266"/>
                  </a:lnTo>
                  <a:lnTo>
                    <a:pt x="1944935" y="50961"/>
                  </a:lnTo>
                  <a:lnTo>
                    <a:pt x="1945626" y="50961"/>
                  </a:lnTo>
                  <a:lnTo>
                    <a:pt x="1956634" y="51643"/>
                  </a:lnTo>
                  <a:lnTo>
                    <a:pt x="1967014" y="54521"/>
                  </a:lnTo>
                  <a:lnTo>
                    <a:pt x="1973878" y="60847"/>
                  </a:lnTo>
                  <a:lnTo>
                    <a:pt x="1974337" y="71872"/>
                  </a:lnTo>
                  <a:lnTo>
                    <a:pt x="1969699" y="82094"/>
                  </a:lnTo>
                  <a:lnTo>
                    <a:pt x="1962966" y="89087"/>
                  </a:lnTo>
                  <a:lnTo>
                    <a:pt x="1954568" y="93224"/>
                  </a:lnTo>
                  <a:lnTo>
                    <a:pt x="1944935" y="94876"/>
                  </a:lnTo>
                  <a:lnTo>
                    <a:pt x="1944935" y="140634"/>
                  </a:lnTo>
                  <a:lnTo>
                    <a:pt x="2005067" y="119882"/>
                  </a:lnTo>
                  <a:lnTo>
                    <a:pt x="2035969" y="71495"/>
                  </a:lnTo>
                  <a:lnTo>
                    <a:pt x="2038543" y="44126"/>
                  </a:lnTo>
                  <a:lnTo>
                    <a:pt x="2028885" y="23251"/>
                  </a:lnTo>
                  <a:lnTo>
                    <a:pt x="2006467" y="9941"/>
                  </a:lnTo>
                  <a:lnTo>
                    <a:pt x="1970756" y="5266"/>
                  </a:lnTo>
                  <a:close/>
                </a:path>
                <a:path w="2926080" h="342265">
                  <a:moveTo>
                    <a:pt x="2255606" y="5266"/>
                  </a:moveTo>
                  <a:lnTo>
                    <a:pt x="2094773" y="5266"/>
                  </a:lnTo>
                  <a:lnTo>
                    <a:pt x="2038817" y="202192"/>
                  </a:lnTo>
                  <a:lnTo>
                    <a:pt x="2203524" y="202192"/>
                  </a:lnTo>
                  <a:lnTo>
                    <a:pt x="2216655" y="156204"/>
                  </a:lnTo>
                  <a:lnTo>
                    <a:pt x="2116375" y="156204"/>
                  </a:lnTo>
                  <a:lnTo>
                    <a:pt x="2125233" y="125388"/>
                  </a:lnTo>
                  <a:lnTo>
                    <a:pt x="2206707" y="125388"/>
                  </a:lnTo>
                  <a:lnTo>
                    <a:pt x="2219827" y="79337"/>
                  </a:lnTo>
                  <a:lnTo>
                    <a:pt x="2138353" y="79337"/>
                  </a:lnTo>
                  <a:lnTo>
                    <a:pt x="2146489" y="50961"/>
                  </a:lnTo>
                  <a:lnTo>
                    <a:pt x="2242518" y="50961"/>
                  </a:lnTo>
                  <a:lnTo>
                    <a:pt x="2255606" y="5266"/>
                  </a:lnTo>
                  <a:close/>
                </a:path>
                <a:path w="2926080" h="342265">
                  <a:moveTo>
                    <a:pt x="2404408" y="57034"/>
                  </a:moveTo>
                  <a:lnTo>
                    <a:pt x="2339530" y="57034"/>
                  </a:lnTo>
                  <a:lnTo>
                    <a:pt x="2298453" y="202192"/>
                  </a:lnTo>
                  <a:lnTo>
                    <a:pt x="2362943" y="202192"/>
                  </a:lnTo>
                  <a:lnTo>
                    <a:pt x="2404408" y="57034"/>
                  </a:lnTo>
                  <a:close/>
                </a:path>
                <a:path w="2926080" h="342265">
                  <a:moveTo>
                    <a:pt x="2469893" y="176350"/>
                  </a:moveTo>
                  <a:lnTo>
                    <a:pt x="2462500" y="202192"/>
                  </a:lnTo>
                  <a:lnTo>
                    <a:pt x="2469893" y="202192"/>
                  </a:lnTo>
                  <a:lnTo>
                    <a:pt x="2469893" y="176350"/>
                  </a:lnTo>
                  <a:close/>
                </a:path>
                <a:path w="2926080" h="342265">
                  <a:moveTo>
                    <a:pt x="2590004" y="5266"/>
                  </a:moveTo>
                  <a:lnTo>
                    <a:pt x="2518436" y="5266"/>
                  </a:lnTo>
                  <a:lnTo>
                    <a:pt x="2469893" y="176350"/>
                  </a:lnTo>
                  <a:lnTo>
                    <a:pt x="2469893" y="202192"/>
                  </a:lnTo>
                  <a:lnTo>
                    <a:pt x="2526959" y="202192"/>
                  </a:lnTo>
                  <a:lnTo>
                    <a:pt x="2546833" y="133535"/>
                  </a:lnTo>
                  <a:lnTo>
                    <a:pt x="2590004" y="133535"/>
                  </a:lnTo>
                  <a:lnTo>
                    <a:pt x="2590004" y="90300"/>
                  </a:lnTo>
                  <a:lnTo>
                    <a:pt x="2558812" y="90300"/>
                  </a:lnTo>
                  <a:lnTo>
                    <a:pt x="2570193" y="50961"/>
                  </a:lnTo>
                  <a:lnTo>
                    <a:pt x="2590004" y="50961"/>
                  </a:lnTo>
                  <a:lnTo>
                    <a:pt x="2590004" y="5266"/>
                  </a:lnTo>
                  <a:close/>
                </a:path>
                <a:path w="2926080" h="342265">
                  <a:moveTo>
                    <a:pt x="2590004" y="171439"/>
                  </a:moveTo>
                  <a:lnTo>
                    <a:pt x="2587335" y="182273"/>
                  </a:lnTo>
                  <a:lnTo>
                    <a:pt x="2585621" y="191214"/>
                  </a:lnTo>
                  <a:lnTo>
                    <a:pt x="2584761" y="197956"/>
                  </a:lnTo>
                  <a:lnTo>
                    <a:pt x="2584654" y="202192"/>
                  </a:lnTo>
                  <a:lnTo>
                    <a:pt x="2590004" y="202192"/>
                  </a:lnTo>
                  <a:lnTo>
                    <a:pt x="2590004" y="171439"/>
                  </a:lnTo>
                  <a:close/>
                </a:path>
                <a:path w="2926080" h="342265">
                  <a:moveTo>
                    <a:pt x="2611606" y="5266"/>
                  </a:moveTo>
                  <a:lnTo>
                    <a:pt x="2590004" y="5266"/>
                  </a:lnTo>
                  <a:lnTo>
                    <a:pt x="2590004" y="50961"/>
                  </a:lnTo>
                  <a:lnTo>
                    <a:pt x="2600287" y="50961"/>
                  </a:lnTo>
                  <a:lnTo>
                    <a:pt x="2610264" y="52233"/>
                  </a:lnTo>
                  <a:lnTo>
                    <a:pt x="2617424" y="56065"/>
                  </a:lnTo>
                  <a:lnTo>
                    <a:pt x="2621059" y="62477"/>
                  </a:lnTo>
                  <a:lnTo>
                    <a:pt x="2620464" y="71495"/>
                  </a:lnTo>
                  <a:lnTo>
                    <a:pt x="2616546" y="79523"/>
                  </a:lnTo>
                  <a:lnTo>
                    <a:pt x="2610139" y="85158"/>
                  </a:lnTo>
                  <a:lnTo>
                    <a:pt x="2601279" y="88662"/>
                  </a:lnTo>
                  <a:lnTo>
                    <a:pt x="2590004" y="90300"/>
                  </a:lnTo>
                  <a:lnTo>
                    <a:pt x="2590004" y="138110"/>
                  </a:lnTo>
                  <a:lnTo>
                    <a:pt x="2593657" y="142655"/>
                  </a:lnTo>
                  <a:lnTo>
                    <a:pt x="2594791" y="148995"/>
                  </a:lnTo>
                  <a:lnTo>
                    <a:pt x="2593799" y="157338"/>
                  </a:lnTo>
                  <a:lnTo>
                    <a:pt x="2591072" y="167890"/>
                  </a:lnTo>
                  <a:lnTo>
                    <a:pt x="2590004" y="171439"/>
                  </a:lnTo>
                  <a:lnTo>
                    <a:pt x="2590004" y="202192"/>
                  </a:lnTo>
                  <a:lnTo>
                    <a:pt x="2650243" y="202192"/>
                  </a:lnTo>
                  <a:lnTo>
                    <a:pt x="2651667" y="196213"/>
                  </a:lnTo>
                  <a:lnTo>
                    <a:pt x="2647966" y="194484"/>
                  </a:lnTo>
                  <a:lnTo>
                    <a:pt x="2647661" y="188742"/>
                  </a:lnTo>
                  <a:lnTo>
                    <a:pt x="2650158" y="178155"/>
                  </a:lnTo>
                  <a:lnTo>
                    <a:pt x="2654861" y="161890"/>
                  </a:lnTo>
                  <a:lnTo>
                    <a:pt x="2659330" y="138020"/>
                  </a:lnTo>
                  <a:lnTo>
                    <a:pt x="2656746" y="123678"/>
                  </a:lnTo>
                  <a:lnTo>
                    <a:pt x="2648524" y="115329"/>
                  </a:lnTo>
                  <a:lnTo>
                    <a:pt x="2636076" y="109441"/>
                  </a:lnTo>
                  <a:lnTo>
                    <a:pt x="2652933" y="102395"/>
                  </a:lnTo>
                  <a:lnTo>
                    <a:pt x="2666382" y="91442"/>
                  </a:lnTo>
                  <a:lnTo>
                    <a:pt x="2676457" y="77442"/>
                  </a:lnTo>
                  <a:lnTo>
                    <a:pt x="2683195" y="61254"/>
                  </a:lnTo>
                  <a:lnTo>
                    <a:pt x="2685751" y="36360"/>
                  </a:lnTo>
                  <a:lnTo>
                    <a:pt x="2676096" y="18909"/>
                  </a:lnTo>
                  <a:lnTo>
                    <a:pt x="2652094" y="8633"/>
                  </a:lnTo>
                  <a:lnTo>
                    <a:pt x="2611606" y="5266"/>
                  </a:lnTo>
                  <a:close/>
                </a:path>
                <a:path w="2926080" h="342265">
                  <a:moveTo>
                    <a:pt x="2590004" y="133535"/>
                  </a:moveTo>
                  <a:lnTo>
                    <a:pt x="2578361" y="133535"/>
                  </a:lnTo>
                  <a:lnTo>
                    <a:pt x="2585764" y="134938"/>
                  </a:lnTo>
                  <a:lnTo>
                    <a:pt x="2590004" y="138110"/>
                  </a:lnTo>
                  <a:lnTo>
                    <a:pt x="2590004" y="133535"/>
                  </a:lnTo>
                  <a:close/>
                </a:path>
                <a:path w="2926080" h="342265">
                  <a:moveTo>
                    <a:pt x="2469893" y="5266"/>
                  </a:moveTo>
                  <a:lnTo>
                    <a:pt x="2296348" y="5266"/>
                  </a:lnTo>
                  <a:lnTo>
                    <a:pt x="2281469" y="57034"/>
                  </a:lnTo>
                  <a:lnTo>
                    <a:pt x="2462500" y="57034"/>
                  </a:lnTo>
                  <a:lnTo>
                    <a:pt x="2469893" y="31150"/>
                  </a:lnTo>
                  <a:lnTo>
                    <a:pt x="2469893" y="5266"/>
                  </a:lnTo>
                  <a:close/>
                </a:path>
                <a:path w="2926080" h="342265">
                  <a:moveTo>
                    <a:pt x="2476961" y="5266"/>
                  </a:moveTo>
                  <a:lnTo>
                    <a:pt x="2469893" y="5266"/>
                  </a:lnTo>
                  <a:lnTo>
                    <a:pt x="2469893" y="31150"/>
                  </a:lnTo>
                  <a:lnTo>
                    <a:pt x="2476961" y="5266"/>
                  </a:lnTo>
                  <a:close/>
                </a:path>
                <a:path w="2926080" h="342265">
                  <a:moveTo>
                    <a:pt x="2817066" y="3172"/>
                  </a:moveTo>
                  <a:lnTo>
                    <a:pt x="2752917" y="37193"/>
                  </a:lnTo>
                  <a:lnTo>
                    <a:pt x="2714032" y="102007"/>
                  </a:lnTo>
                  <a:lnTo>
                    <a:pt x="2708867" y="146888"/>
                  </a:lnTo>
                  <a:lnTo>
                    <a:pt x="2720489" y="180011"/>
                  </a:lnTo>
                  <a:lnTo>
                    <a:pt x="2747214" y="200516"/>
                  </a:lnTo>
                  <a:lnTo>
                    <a:pt x="2787360" y="207543"/>
                  </a:lnTo>
                  <a:lnTo>
                    <a:pt x="2794986" y="207348"/>
                  </a:lnTo>
                  <a:lnTo>
                    <a:pt x="2802468" y="206756"/>
                  </a:lnTo>
                  <a:lnTo>
                    <a:pt x="2809822" y="205754"/>
                  </a:lnTo>
                  <a:lnTo>
                    <a:pt x="2817066" y="204328"/>
                  </a:lnTo>
                  <a:lnTo>
                    <a:pt x="2817066" y="159377"/>
                  </a:lnTo>
                  <a:lnTo>
                    <a:pt x="2801129" y="159377"/>
                  </a:lnTo>
                  <a:lnTo>
                    <a:pt x="2783592" y="154055"/>
                  </a:lnTo>
                  <a:lnTo>
                    <a:pt x="2775597" y="140464"/>
                  </a:lnTo>
                  <a:lnTo>
                    <a:pt x="2774711" y="122165"/>
                  </a:lnTo>
                  <a:lnTo>
                    <a:pt x="2778501" y="102719"/>
                  </a:lnTo>
                  <a:lnTo>
                    <a:pt x="2784218" y="87243"/>
                  </a:lnTo>
                  <a:lnTo>
                    <a:pt x="2792467" y="72309"/>
                  </a:lnTo>
                  <a:lnTo>
                    <a:pt x="2803374" y="59640"/>
                  </a:lnTo>
                  <a:lnTo>
                    <a:pt x="2817066" y="50961"/>
                  </a:lnTo>
                  <a:lnTo>
                    <a:pt x="2817066" y="3172"/>
                  </a:lnTo>
                  <a:close/>
                </a:path>
                <a:path w="2926080" h="342265">
                  <a:moveTo>
                    <a:pt x="2921568" y="48176"/>
                  </a:moveTo>
                  <a:lnTo>
                    <a:pt x="2832322" y="48176"/>
                  </a:lnTo>
                  <a:lnTo>
                    <a:pt x="2849221" y="52599"/>
                  </a:lnTo>
                  <a:lnTo>
                    <a:pt x="2857860" y="65066"/>
                  </a:lnTo>
                  <a:lnTo>
                    <a:pt x="2849612" y="120984"/>
                  </a:lnTo>
                  <a:lnTo>
                    <a:pt x="2817066" y="156539"/>
                  </a:lnTo>
                  <a:lnTo>
                    <a:pt x="2817066" y="204328"/>
                  </a:lnTo>
                  <a:lnTo>
                    <a:pt x="2880531" y="170408"/>
                  </a:lnTo>
                  <a:lnTo>
                    <a:pt x="2904496" y="140570"/>
                  </a:lnTo>
                  <a:lnTo>
                    <a:pt x="2920853" y="102719"/>
                  </a:lnTo>
                  <a:lnTo>
                    <a:pt x="2925471" y="76154"/>
                  </a:lnTo>
                  <a:lnTo>
                    <a:pt x="2925372" y="65066"/>
                  </a:lnTo>
                  <a:lnTo>
                    <a:pt x="2921568" y="48176"/>
                  </a:lnTo>
                  <a:close/>
                </a:path>
                <a:path w="2926080" h="342265">
                  <a:moveTo>
                    <a:pt x="2817066" y="156539"/>
                  </a:moveTo>
                  <a:lnTo>
                    <a:pt x="2812092" y="158340"/>
                  </a:lnTo>
                  <a:lnTo>
                    <a:pt x="2806783" y="159377"/>
                  </a:lnTo>
                  <a:lnTo>
                    <a:pt x="2817066" y="159377"/>
                  </a:lnTo>
                  <a:lnTo>
                    <a:pt x="2817066" y="156539"/>
                  </a:lnTo>
                  <a:close/>
                </a:path>
                <a:path w="2926080" h="342265">
                  <a:moveTo>
                    <a:pt x="2846489" y="0"/>
                  </a:moveTo>
                  <a:lnTo>
                    <a:pt x="2839047" y="195"/>
                  </a:lnTo>
                  <a:lnTo>
                    <a:pt x="2831636" y="785"/>
                  </a:lnTo>
                  <a:lnTo>
                    <a:pt x="2824296" y="1775"/>
                  </a:lnTo>
                  <a:lnTo>
                    <a:pt x="2817066" y="3172"/>
                  </a:lnTo>
                  <a:lnTo>
                    <a:pt x="2817066" y="50961"/>
                  </a:lnTo>
                  <a:lnTo>
                    <a:pt x="2821641" y="49202"/>
                  </a:lnTo>
                  <a:lnTo>
                    <a:pt x="2826615" y="48176"/>
                  </a:lnTo>
                  <a:lnTo>
                    <a:pt x="2921568" y="48176"/>
                  </a:lnTo>
                  <a:lnTo>
                    <a:pt x="2919704" y="39897"/>
                  </a:lnTo>
                  <a:lnTo>
                    <a:pt x="2905106" y="19088"/>
                  </a:lnTo>
                  <a:lnTo>
                    <a:pt x="2880945" y="5111"/>
                  </a:lnTo>
                  <a:lnTo>
                    <a:pt x="2846489" y="0"/>
                  </a:lnTo>
                  <a:close/>
                </a:path>
                <a:path w="2926080" h="342265">
                  <a:moveTo>
                    <a:pt x="533763" y="3957"/>
                  </a:moveTo>
                  <a:lnTo>
                    <a:pt x="0" y="3957"/>
                  </a:lnTo>
                  <a:lnTo>
                    <a:pt x="0" y="342188"/>
                  </a:lnTo>
                  <a:lnTo>
                    <a:pt x="533763" y="342188"/>
                  </a:lnTo>
                  <a:lnTo>
                    <a:pt x="533763" y="3957"/>
                  </a:lnTo>
                  <a:close/>
                </a:path>
              </a:pathLst>
            </a:custGeom>
            <a:solidFill>
              <a:srgbClr val="00814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2" name="object 116">
              <a:extLst>
                <a:ext uri="{FF2B5EF4-FFF2-40B4-BE49-F238E27FC236}">
                  <a16:creationId xmlns:a16="http://schemas.microsoft.com/office/drawing/2014/main" id="{9ABA200E-3784-58D3-469B-492F0EDE59FF}"/>
                </a:ext>
              </a:extLst>
            </p:cNvPr>
            <p:cNvSpPr/>
            <p:nvPr/>
          </p:nvSpPr>
          <p:spPr>
            <a:xfrm>
              <a:off x="16766546" y="10371568"/>
              <a:ext cx="534035" cy="129539"/>
            </a:xfrm>
            <a:custGeom>
              <a:avLst/>
              <a:gdLst/>
              <a:ahLst/>
              <a:cxnLst/>
              <a:rect l="l" t="t" r="r" b="b"/>
              <a:pathLst>
                <a:path w="534034" h="129540">
                  <a:moveTo>
                    <a:pt x="533763" y="0"/>
                  </a:moveTo>
                  <a:lnTo>
                    <a:pt x="0" y="0"/>
                  </a:lnTo>
                  <a:lnTo>
                    <a:pt x="0" y="129325"/>
                  </a:lnTo>
                  <a:lnTo>
                    <a:pt x="533763" y="129325"/>
                  </a:lnTo>
                  <a:lnTo>
                    <a:pt x="533763" y="0"/>
                  </a:lnTo>
                  <a:close/>
                </a:path>
              </a:pathLst>
            </a:custGeom>
            <a:solidFill>
              <a:srgbClr val="FDC42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4" name="object 117">
              <a:extLst>
                <a:ext uri="{FF2B5EF4-FFF2-40B4-BE49-F238E27FC236}">
                  <a16:creationId xmlns:a16="http://schemas.microsoft.com/office/drawing/2014/main" id="{B04EA071-E4D3-E7C2-6041-FF70EFA4AFD8}"/>
                </a:ext>
              </a:extLst>
            </p:cNvPr>
            <p:cNvSpPr/>
            <p:nvPr/>
          </p:nvSpPr>
          <p:spPr>
            <a:xfrm>
              <a:off x="16766445" y="10500818"/>
              <a:ext cx="534035" cy="264160"/>
            </a:xfrm>
            <a:custGeom>
              <a:avLst/>
              <a:gdLst/>
              <a:ahLst/>
              <a:cxnLst/>
              <a:rect l="l" t="t" r="r" b="b"/>
              <a:pathLst>
                <a:path w="534034" h="264159">
                  <a:moveTo>
                    <a:pt x="450292" y="187219"/>
                  </a:moveTo>
                  <a:lnTo>
                    <a:pt x="377108" y="187219"/>
                  </a:lnTo>
                  <a:lnTo>
                    <a:pt x="390664" y="189651"/>
                  </a:lnTo>
                  <a:lnTo>
                    <a:pt x="397101" y="195484"/>
                  </a:lnTo>
                  <a:lnTo>
                    <a:pt x="399147" y="202525"/>
                  </a:lnTo>
                  <a:lnTo>
                    <a:pt x="399539" y="208939"/>
                  </a:lnTo>
                  <a:lnTo>
                    <a:pt x="401411" y="263594"/>
                  </a:lnTo>
                  <a:lnTo>
                    <a:pt x="455085" y="263552"/>
                  </a:lnTo>
                  <a:lnTo>
                    <a:pt x="452436" y="197334"/>
                  </a:lnTo>
                  <a:lnTo>
                    <a:pt x="450292" y="187219"/>
                  </a:lnTo>
                  <a:close/>
                </a:path>
                <a:path w="534034" h="264159">
                  <a:moveTo>
                    <a:pt x="422489" y="64689"/>
                  </a:moveTo>
                  <a:lnTo>
                    <a:pt x="322262" y="64689"/>
                  </a:lnTo>
                  <a:lnTo>
                    <a:pt x="265175" y="262002"/>
                  </a:lnTo>
                  <a:lnTo>
                    <a:pt x="322953" y="262002"/>
                  </a:lnTo>
                  <a:lnTo>
                    <a:pt x="344073" y="187219"/>
                  </a:lnTo>
                  <a:lnTo>
                    <a:pt x="450292" y="187219"/>
                  </a:lnTo>
                  <a:lnTo>
                    <a:pt x="450248" y="187014"/>
                  </a:lnTo>
                  <a:lnTo>
                    <a:pt x="445457" y="179838"/>
                  </a:lnTo>
                  <a:lnTo>
                    <a:pt x="439119" y="175649"/>
                  </a:lnTo>
                  <a:lnTo>
                    <a:pt x="432290" y="174287"/>
                  </a:lnTo>
                  <a:lnTo>
                    <a:pt x="444656" y="169031"/>
                  </a:lnTo>
                  <a:lnTo>
                    <a:pt x="455538" y="161196"/>
                  </a:lnTo>
                  <a:lnTo>
                    <a:pt x="464319" y="152345"/>
                  </a:lnTo>
                  <a:lnTo>
                    <a:pt x="467089" y="148550"/>
                  </a:lnTo>
                  <a:lnTo>
                    <a:pt x="355025" y="148550"/>
                  </a:lnTo>
                  <a:lnTo>
                    <a:pt x="367203" y="104394"/>
                  </a:lnTo>
                  <a:lnTo>
                    <a:pt x="477533" y="104394"/>
                  </a:lnTo>
                  <a:lnTo>
                    <a:pt x="475650" y="95892"/>
                  </a:lnTo>
                  <a:lnTo>
                    <a:pt x="465661" y="79905"/>
                  </a:lnTo>
                  <a:lnTo>
                    <a:pt x="452026" y="70497"/>
                  </a:lnTo>
                  <a:lnTo>
                    <a:pt x="436914" y="65986"/>
                  </a:lnTo>
                  <a:lnTo>
                    <a:pt x="422489" y="64689"/>
                  </a:lnTo>
                  <a:close/>
                </a:path>
                <a:path w="534034" h="264159">
                  <a:moveTo>
                    <a:pt x="197554" y="64689"/>
                  </a:moveTo>
                  <a:lnTo>
                    <a:pt x="102740" y="64689"/>
                  </a:lnTo>
                  <a:lnTo>
                    <a:pt x="45862" y="261583"/>
                  </a:lnTo>
                  <a:lnTo>
                    <a:pt x="162372" y="261583"/>
                  </a:lnTo>
                  <a:lnTo>
                    <a:pt x="193085" y="259611"/>
                  </a:lnTo>
                  <a:lnTo>
                    <a:pt x="231804" y="241217"/>
                  </a:lnTo>
                  <a:lnTo>
                    <a:pt x="244382" y="221029"/>
                  </a:lnTo>
                  <a:lnTo>
                    <a:pt x="114917" y="221029"/>
                  </a:lnTo>
                  <a:lnTo>
                    <a:pt x="127210" y="178486"/>
                  </a:lnTo>
                  <a:lnTo>
                    <a:pt x="244256" y="178486"/>
                  </a:lnTo>
                  <a:lnTo>
                    <a:pt x="242212" y="174402"/>
                  </a:lnTo>
                  <a:lnTo>
                    <a:pt x="236392" y="167566"/>
                  </a:lnTo>
                  <a:lnTo>
                    <a:pt x="231130" y="163183"/>
                  </a:lnTo>
                  <a:lnTo>
                    <a:pt x="228275" y="161481"/>
                  </a:lnTo>
                  <a:lnTo>
                    <a:pt x="238829" y="154716"/>
                  </a:lnTo>
                  <a:lnTo>
                    <a:pt x="246786" y="146769"/>
                  </a:lnTo>
                  <a:lnTo>
                    <a:pt x="251334" y="140644"/>
                  </a:lnTo>
                  <a:lnTo>
                    <a:pt x="138027" y="140644"/>
                  </a:lnTo>
                  <a:lnTo>
                    <a:pt x="148246" y="104143"/>
                  </a:lnTo>
                  <a:lnTo>
                    <a:pt x="258753" y="104143"/>
                  </a:lnTo>
                  <a:lnTo>
                    <a:pt x="257796" y="97699"/>
                  </a:lnTo>
                  <a:lnTo>
                    <a:pt x="250212" y="83788"/>
                  </a:lnTo>
                  <a:lnTo>
                    <a:pt x="239272" y="74635"/>
                  </a:lnTo>
                  <a:lnTo>
                    <a:pt x="225736" y="68839"/>
                  </a:lnTo>
                  <a:lnTo>
                    <a:pt x="211274" y="65742"/>
                  </a:lnTo>
                  <a:lnTo>
                    <a:pt x="197554" y="64689"/>
                  </a:lnTo>
                  <a:close/>
                </a:path>
                <a:path w="534034" h="264159">
                  <a:moveTo>
                    <a:pt x="244256" y="178486"/>
                  </a:moveTo>
                  <a:lnTo>
                    <a:pt x="184538" y="178486"/>
                  </a:lnTo>
                  <a:lnTo>
                    <a:pt x="185606" y="183627"/>
                  </a:lnTo>
                  <a:lnTo>
                    <a:pt x="188214" y="187994"/>
                  </a:lnTo>
                  <a:lnTo>
                    <a:pt x="190790" y="192360"/>
                  </a:lnTo>
                  <a:lnTo>
                    <a:pt x="189596" y="201533"/>
                  </a:lnTo>
                  <a:lnTo>
                    <a:pt x="187826" y="204695"/>
                  </a:lnTo>
                  <a:lnTo>
                    <a:pt x="185548" y="208939"/>
                  </a:lnTo>
                  <a:lnTo>
                    <a:pt x="180935" y="214366"/>
                  </a:lnTo>
                  <a:lnTo>
                    <a:pt x="172228" y="219041"/>
                  </a:lnTo>
                  <a:lnTo>
                    <a:pt x="157670" y="221029"/>
                  </a:lnTo>
                  <a:lnTo>
                    <a:pt x="244382" y="221029"/>
                  </a:lnTo>
                  <a:lnTo>
                    <a:pt x="246728" y="215158"/>
                  </a:lnTo>
                  <a:lnTo>
                    <a:pt x="248941" y="198884"/>
                  </a:lnTo>
                  <a:lnTo>
                    <a:pt x="246746" y="183460"/>
                  </a:lnTo>
                  <a:lnTo>
                    <a:pt x="244256" y="178486"/>
                  </a:lnTo>
                  <a:close/>
                </a:path>
                <a:path w="534034" h="264159">
                  <a:moveTo>
                    <a:pt x="477533" y="104394"/>
                  </a:moveTo>
                  <a:lnTo>
                    <a:pt x="409202" y="104394"/>
                  </a:lnTo>
                  <a:lnTo>
                    <a:pt x="420873" y="106570"/>
                  </a:lnTo>
                  <a:lnTo>
                    <a:pt x="427070" y="111647"/>
                  </a:lnTo>
                  <a:lnTo>
                    <a:pt x="429522" y="117448"/>
                  </a:lnTo>
                  <a:lnTo>
                    <a:pt x="429955" y="121797"/>
                  </a:lnTo>
                  <a:lnTo>
                    <a:pt x="428341" y="129758"/>
                  </a:lnTo>
                  <a:lnTo>
                    <a:pt x="422972" y="138535"/>
                  </a:lnTo>
                  <a:lnTo>
                    <a:pt x="413058" y="145630"/>
                  </a:lnTo>
                  <a:lnTo>
                    <a:pt x="397809" y="148550"/>
                  </a:lnTo>
                  <a:lnTo>
                    <a:pt x="467089" y="148550"/>
                  </a:lnTo>
                  <a:lnTo>
                    <a:pt x="470383" y="144037"/>
                  </a:lnTo>
                  <a:lnTo>
                    <a:pt x="475068" y="134205"/>
                  </a:lnTo>
                  <a:lnTo>
                    <a:pt x="478149" y="122477"/>
                  </a:lnTo>
                  <a:lnTo>
                    <a:pt x="478663" y="109493"/>
                  </a:lnTo>
                  <a:lnTo>
                    <a:pt x="477533" y="104394"/>
                  </a:lnTo>
                  <a:close/>
                </a:path>
                <a:path w="534034" h="264159">
                  <a:moveTo>
                    <a:pt x="258753" y="104143"/>
                  </a:moveTo>
                  <a:lnTo>
                    <a:pt x="201595" y="104143"/>
                  </a:lnTo>
                  <a:lnTo>
                    <a:pt x="209637" y="109808"/>
                  </a:lnTo>
                  <a:lnTo>
                    <a:pt x="209637" y="119211"/>
                  </a:lnTo>
                  <a:lnTo>
                    <a:pt x="207849" y="127865"/>
                  </a:lnTo>
                  <a:lnTo>
                    <a:pt x="202869" y="134643"/>
                  </a:lnTo>
                  <a:lnTo>
                    <a:pt x="195276" y="139064"/>
                  </a:lnTo>
                  <a:lnTo>
                    <a:pt x="185648" y="140644"/>
                  </a:lnTo>
                  <a:lnTo>
                    <a:pt x="251334" y="140644"/>
                  </a:lnTo>
                  <a:lnTo>
                    <a:pt x="252001" y="139746"/>
                  </a:lnTo>
                  <a:lnTo>
                    <a:pt x="254327" y="135755"/>
                  </a:lnTo>
                  <a:lnTo>
                    <a:pt x="258193" y="125006"/>
                  </a:lnTo>
                  <a:lnTo>
                    <a:pt x="259903" y="111880"/>
                  </a:lnTo>
                  <a:lnTo>
                    <a:pt x="258753" y="104143"/>
                  </a:lnTo>
                  <a:close/>
                </a:path>
                <a:path w="534034" h="264159">
                  <a:moveTo>
                    <a:pt x="533868" y="0"/>
                  </a:moveTo>
                  <a:lnTo>
                    <a:pt x="0" y="0"/>
                  </a:lnTo>
                  <a:lnTo>
                    <a:pt x="0" y="64689"/>
                  </a:lnTo>
                  <a:lnTo>
                    <a:pt x="533868" y="64689"/>
                  </a:lnTo>
                  <a:lnTo>
                    <a:pt x="533868"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sp>
        <p:nvSpPr>
          <p:cNvPr id="2" name="Elipse 1">
            <a:extLst>
              <a:ext uri="{FF2B5EF4-FFF2-40B4-BE49-F238E27FC236}">
                <a16:creationId xmlns:a16="http://schemas.microsoft.com/office/drawing/2014/main" id="{D2B3E006-5FCC-0863-B903-3B7BEC381CB4}"/>
              </a:ext>
            </a:extLst>
          </p:cNvPr>
          <p:cNvSpPr/>
          <p:nvPr/>
        </p:nvSpPr>
        <p:spPr>
          <a:xfrm>
            <a:off x="11685200" y="6374990"/>
            <a:ext cx="398310" cy="398207"/>
          </a:xfrm>
          <a:prstGeom prst="ellipse">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800" b="1" dirty="0">
                <a:solidFill>
                  <a:srgbClr val="006199"/>
                </a:solidFill>
              </a:rPr>
              <a:t>P</a:t>
            </a:r>
          </a:p>
        </p:txBody>
      </p:sp>
      <p:pic>
        <p:nvPicPr>
          <p:cNvPr id="3" name="Imagem 2">
            <a:extLst>
              <a:ext uri="{FF2B5EF4-FFF2-40B4-BE49-F238E27FC236}">
                <a16:creationId xmlns:a16="http://schemas.microsoft.com/office/drawing/2014/main" id="{5B01B047-F359-EFD8-88E0-6B3E82CED418}"/>
              </a:ext>
            </a:extLst>
          </p:cNvPr>
          <p:cNvPicPr>
            <a:picLocks noChangeAspect="1"/>
          </p:cNvPicPr>
          <p:nvPr/>
        </p:nvPicPr>
        <p:blipFill>
          <a:blip r:embed="rId8"/>
          <a:srcRect l="4368" t="4653" r="7113" b="4130"/>
          <a:stretch>
            <a:fillRect/>
          </a:stretch>
        </p:blipFill>
        <p:spPr>
          <a:xfrm>
            <a:off x="7401118" y="5064909"/>
            <a:ext cx="1444526" cy="1477500"/>
          </a:xfrm>
          <a:custGeom>
            <a:avLst/>
            <a:gdLst>
              <a:gd name="connsiteX0" fmla="*/ 722263 w 1444526"/>
              <a:gd name="connsiteY0" fmla="*/ 0 h 1477500"/>
              <a:gd name="connsiteX1" fmla="*/ 1444526 w 1444526"/>
              <a:gd name="connsiteY1" fmla="*/ 738750 h 1477500"/>
              <a:gd name="connsiteX2" fmla="*/ 722263 w 1444526"/>
              <a:gd name="connsiteY2" fmla="*/ 1477500 h 1477500"/>
              <a:gd name="connsiteX3" fmla="*/ 0 w 1444526"/>
              <a:gd name="connsiteY3" fmla="*/ 738750 h 1477500"/>
              <a:gd name="connsiteX4" fmla="*/ 722263 w 1444526"/>
              <a:gd name="connsiteY4" fmla="*/ 0 h 1477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526" h="1477500">
                <a:moveTo>
                  <a:pt x="722263" y="0"/>
                </a:moveTo>
                <a:cubicBezTo>
                  <a:pt x="1121158" y="0"/>
                  <a:pt x="1444526" y="330750"/>
                  <a:pt x="1444526" y="738750"/>
                </a:cubicBezTo>
                <a:cubicBezTo>
                  <a:pt x="1444526" y="1146750"/>
                  <a:pt x="1121158" y="1477500"/>
                  <a:pt x="722263" y="1477500"/>
                </a:cubicBezTo>
                <a:cubicBezTo>
                  <a:pt x="323368" y="1477500"/>
                  <a:pt x="0" y="1146750"/>
                  <a:pt x="0" y="738750"/>
                </a:cubicBezTo>
                <a:cubicBezTo>
                  <a:pt x="0" y="330750"/>
                  <a:pt x="323368" y="0"/>
                  <a:pt x="722263" y="0"/>
                </a:cubicBezTo>
                <a:close/>
              </a:path>
            </a:pathLst>
          </a:custGeom>
          <a:ln w="12700">
            <a:solidFill>
              <a:schemeClr val="tx1"/>
            </a:solidFill>
          </a:ln>
        </p:spPr>
      </p:pic>
      <p:pic>
        <p:nvPicPr>
          <p:cNvPr id="4" name="Imagem 3">
            <a:extLst>
              <a:ext uri="{FF2B5EF4-FFF2-40B4-BE49-F238E27FC236}">
                <a16:creationId xmlns:a16="http://schemas.microsoft.com/office/drawing/2014/main" id="{62C7D8E3-3F33-2D41-52D6-C440459C3213}"/>
              </a:ext>
            </a:extLst>
          </p:cNvPr>
          <p:cNvPicPr>
            <a:picLocks noChangeAspect="1"/>
          </p:cNvPicPr>
          <p:nvPr/>
        </p:nvPicPr>
        <p:blipFill>
          <a:blip r:embed="rId9"/>
          <a:stretch>
            <a:fillRect/>
          </a:stretch>
        </p:blipFill>
        <p:spPr>
          <a:xfrm>
            <a:off x="2261552" y="2919317"/>
            <a:ext cx="7973695" cy="2039782"/>
          </a:xfrm>
          <a:prstGeom prst="rect">
            <a:avLst/>
          </a:prstGeom>
        </p:spPr>
      </p:pic>
      <p:sp>
        <p:nvSpPr>
          <p:cNvPr id="5" name="Elipse 4">
            <a:extLst>
              <a:ext uri="{FF2B5EF4-FFF2-40B4-BE49-F238E27FC236}">
                <a16:creationId xmlns:a16="http://schemas.microsoft.com/office/drawing/2014/main" id="{79FFDE9E-7D67-6639-2921-17B11F795A17}"/>
              </a:ext>
            </a:extLst>
          </p:cNvPr>
          <p:cNvSpPr/>
          <p:nvPr/>
        </p:nvSpPr>
        <p:spPr>
          <a:xfrm>
            <a:off x="10671904" y="5456701"/>
            <a:ext cx="1444526" cy="1477499"/>
          </a:xfrm>
          <a:prstGeom prst="ellipse">
            <a:avLst/>
          </a:prstGeom>
          <a:blipFill dpi="0" rotWithShape="1">
            <a:blip r:embed="rId10" cstate="print">
              <a:extLst>
                <a:ext uri="{28A0092B-C50C-407E-A947-70E740481C1C}">
                  <a14:useLocalDpi xmlns:a14="http://schemas.microsoft.com/office/drawing/2010/main" val="0"/>
                </a:ext>
              </a:extLst>
            </a:blip>
            <a:srcRect/>
            <a:stretch>
              <a:fillRect/>
            </a:stretch>
          </a:blipFill>
          <a:ln>
            <a:solidFill>
              <a:schemeClr val="tx1"/>
            </a:solidFill>
          </a:ln>
        </p:spPr>
        <p:style>
          <a:lnRef idx="1">
            <a:schemeClr val="lt1">
              <a:hueOff val="0"/>
              <a:satOff val="0"/>
              <a:lumOff val="0"/>
              <a:alphaOff val="0"/>
            </a:schemeClr>
          </a:lnRef>
          <a:fillRef idx="1">
            <a:scrgbClr r="0" g="0" b="0"/>
          </a:fillRef>
          <a:effectRef idx="1">
            <a:schemeClr val="accent6">
              <a:tint val="50000"/>
              <a:alpha val="90000"/>
              <a:hueOff val="0"/>
              <a:satOff val="0"/>
              <a:lumOff val="0"/>
              <a:alphaOff val="0"/>
            </a:schemeClr>
          </a:effectRef>
          <a:fontRef idx="minor">
            <a:schemeClr val="lt1">
              <a:hueOff val="0"/>
              <a:satOff val="0"/>
              <a:lumOff val="0"/>
              <a:alphaOff val="0"/>
            </a:schemeClr>
          </a:fontRef>
        </p:style>
        <p:txBody>
          <a:bodyPr/>
          <a:lstStyle/>
          <a:p>
            <a:endParaRPr lang="pt-BR">
              <a:solidFill>
                <a:schemeClr val="tx1"/>
              </a:solidFill>
            </a:endParaRPr>
          </a:p>
        </p:txBody>
      </p:sp>
      <p:sp>
        <p:nvSpPr>
          <p:cNvPr id="6" name="Elipse 5">
            <a:extLst>
              <a:ext uri="{FF2B5EF4-FFF2-40B4-BE49-F238E27FC236}">
                <a16:creationId xmlns:a16="http://schemas.microsoft.com/office/drawing/2014/main" id="{ACDE97EE-C201-06A2-7CA9-AE25243DE8BE}"/>
              </a:ext>
            </a:extLst>
          </p:cNvPr>
          <p:cNvSpPr/>
          <p:nvPr/>
        </p:nvSpPr>
        <p:spPr>
          <a:xfrm>
            <a:off x="941689" y="5333020"/>
            <a:ext cx="1372150" cy="1424604"/>
          </a:xfrm>
          <a:prstGeom prst="ellipse">
            <a:avLst/>
          </a:prstGeom>
          <a:blipFill rotWithShape="1">
            <a:blip r:embed="rId11"/>
            <a:srcRect/>
            <a:stretch>
              <a:fillRect l="-1000" r="-1000"/>
            </a:stretch>
          </a:blipFill>
          <a:ln w="12700">
            <a:solidFill>
              <a:schemeClr val="tx1"/>
            </a:solidFill>
          </a:ln>
        </p:spPr>
        <p:style>
          <a:lnRef idx="1">
            <a:schemeClr val="lt1">
              <a:hueOff val="0"/>
              <a:satOff val="0"/>
              <a:lumOff val="0"/>
              <a:alphaOff val="0"/>
            </a:schemeClr>
          </a:lnRef>
          <a:fillRef idx="1">
            <a:scrgbClr r="0" g="0" b="0"/>
          </a:fillRef>
          <a:effectRef idx="1">
            <a:schemeClr val="accent6">
              <a:tint val="50000"/>
              <a:alpha val="90000"/>
              <a:hueOff val="8923"/>
              <a:satOff val="-476"/>
              <a:lumOff val="2447"/>
              <a:alphaOff val="-8000"/>
            </a:schemeClr>
          </a:effectRef>
          <a:fontRef idx="minor">
            <a:schemeClr val="lt1">
              <a:hueOff val="0"/>
              <a:satOff val="0"/>
              <a:lumOff val="0"/>
              <a:alphaOff val="0"/>
            </a:schemeClr>
          </a:fontRef>
        </p:style>
        <p:txBody>
          <a:bodyPr/>
          <a:lstStyle/>
          <a:p>
            <a:endParaRPr lang="pt-BR">
              <a:solidFill>
                <a:schemeClr val="tx1"/>
              </a:solidFill>
            </a:endParaRPr>
          </a:p>
        </p:txBody>
      </p:sp>
      <p:sp>
        <p:nvSpPr>
          <p:cNvPr id="7" name="Elipse 6">
            <a:extLst>
              <a:ext uri="{FF2B5EF4-FFF2-40B4-BE49-F238E27FC236}">
                <a16:creationId xmlns:a16="http://schemas.microsoft.com/office/drawing/2014/main" id="{3BBCFE81-89B9-258C-97E8-A8B04921D494}"/>
              </a:ext>
            </a:extLst>
          </p:cNvPr>
          <p:cNvSpPr/>
          <p:nvPr/>
        </p:nvSpPr>
        <p:spPr>
          <a:xfrm>
            <a:off x="5664581" y="5305947"/>
            <a:ext cx="1423972" cy="1477498"/>
          </a:xfrm>
          <a:prstGeom prst="ellipse">
            <a:avLst/>
          </a:prstGeom>
          <a:blipFill dpi="0" rotWithShape="1">
            <a:blip r:embed="rId12">
              <a:extLst>
                <a:ext uri="{28A0092B-C50C-407E-A947-70E740481C1C}">
                  <a14:useLocalDpi xmlns:a14="http://schemas.microsoft.com/office/drawing/2010/main" val="0"/>
                </a:ext>
              </a:extLst>
            </a:blip>
            <a:srcRect/>
            <a:stretch>
              <a:fillRect/>
            </a:stretch>
          </a:blipFill>
          <a:ln>
            <a:solidFill>
              <a:schemeClr val="tx1"/>
            </a:solidFill>
          </a:ln>
        </p:spPr>
        <p:style>
          <a:lnRef idx="1">
            <a:schemeClr val="lt1">
              <a:hueOff val="0"/>
              <a:satOff val="0"/>
              <a:lumOff val="0"/>
              <a:alphaOff val="0"/>
            </a:schemeClr>
          </a:lnRef>
          <a:fillRef idx="1">
            <a:scrgbClr r="0" g="0" b="0"/>
          </a:fillRef>
          <a:effectRef idx="1">
            <a:schemeClr val="accent6">
              <a:tint val="50000"/>
              <a:alpha val="90000"/>
              <a:hueOff val="17846"/>
              <a:satOff val="-951"/>
              <a:lumOff val="4894"/>
              <a:alphaOff val="-16000"/>
            </a:schemeClr>
          </a:effectRef>
          <a:fontRef idx="minor">
            <a:schemeClr val="lt1">
              <a:hueOff val="0"/>
              <a:satOff val="0"/>
              <a:lumOff val="0"/>
              <a:alphaOff val="0"/>
            </a:schemeClr>
          </a:fontRef>
        </p:style>
        <p:txBody>
          <a:bodyPr/>
          <a:lstStyle/>
          <a:p>
            <a:endParaRPr lang="pt-BR">
              <a:solidFill>
                <a:schemeClr val="tx1"/>
              </a:solidFill>
            </a:endParaRPr>
          </a:p>
        </p:txBody>
      </p:sp>
      <p:sp>
        <p:nvSpPr>
          <p:cNvPr id="9" name="Elipse 8">
            <a:extLst>
              <a:ext uri="{FF2B5EF4-FFF2-40B4-BE49-F238E27FC236}">
                <a16:creationId xmlns:a16="http://schemas.microsoft.com/office/drawing/2014/main" id="{FE1B6FC7-93EB-5580-74C8-6B91E9BFEF15}"/>
              </a:ext>
            </a:extLst>
          </p:cNvPr>
          <p:cNvSpPr/>
          <p:nvPr/>
        </p:nvSpPr>
        <p:spPr>
          <a:xfrm>
            <a:off x="486224" y="3494575"/>
            <a:ext cx="1372150" cy="1424604"/>
          </a:xfrm>
          <a:prstGeom prst="ellipse">
            <a:avLst/>
          </a:prstGeom>
          <a:blipFill dpi="0" rotWithShape="1">
            <a:blip r:embed="rId13" cstate="print">
              <a:extLst>
                <a:ext uri="{28A0092B-C50C-407E-A947-70E740481C1C}">
                  <a14:useLocalDpi xmlns:a14="http://schemas.microsoft.com/office/drawing/2010/main" val="0"/>
                </a:ext>
              </a:extLst>
            </a:blip>
            <a:srcRect/>
            <a:stretch>
              <a:fillRect/>
            </a:stretch>
          </a:blipFill>
          <a:ln w="12700">
            <a:solidFill>
              <a:schemeClr val="tx1"/>
            </a:solidFill>
          </a:ln>
        </p:spPr>
        <p:style>
          <a:lnRef idx="1">
            <a:schemeClr val="lt1">
              <a:hueOff val="0"/>
              <a:satOff val="0"/>
              <a:lumOff val="0"/>
              <a:alphaOff val="0"/>
            </a:schemeClr>
          </a:lnRef>
          <a:fillRef idx="1">
            <a:scrgbClr r="0" g="0" b="0"/>
          </a:fillRef>
          <a:effectRef idx="1">
            <a:schemeClr val="accent6">
              <a:tint val="50000"/>
              <a:alpha val="90000"/>
              <a:hueOff val="26770"/>
              <a:satOff val="-1427"/>
              <a:lumOff val="7342"/>
              <a:alphaOff val="-24000"/>
            </a:schemeClr>
          </a:effectRef>
          <a:fontRef idx="minor">
            <a:schemeClr val="lt1">
              <a:hueOff val="0"/>
              <a:satOff val="0"/>
              <a:lumOff val="0"/>
              <a:alphaOff val="0"/>
            </a:schemeClr>
          </a:fontRef>
        </p:style>
        <p:txBody>
          <a:bodyPr/>
          <a:lstStyle/>
          <a:p>
            <a:endParaRPr lang="pt-BR">
              <a:solidFill>
                <a:schemeClr val="tx1"/>
              </a:solidFill>
            </a:endParaRPr>
          </a:p>
        </p:txBody>
      </p:sp>
      <p:pic>
        <p:nvPicPr>
          <p:cNvPr id="10" name="Imagem 9" descr="CFD trim optimization">
            <a:extLst>
              <a:ext uri="{FF2B5EF4-FFF2-40B4-BE49-F238E27FC236}">
                <a16:creationId xmlns:a16="http://schemas.microsoft.com/office/drawing/2014/main" id="{17122A2F-8801-F025-DE27-F44AA23682BF}"/>
              </a:ext>
            </a:extLst>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l="49184" t="5414" r="1316" b="968"/>
          <a:stretch/>
        </p:blipFill>
        <p:spPr bwMode="auto">
          <a:xfrm>
            <a:off x="10744924" y="3827233"/>
            <a:ext cx="1371506" cy="1357472"/>
          </a:xfrm>
          <a:custGeom>
            <a:avLst/>
            <a:gdLst>
              <a:gd name="connsiteX0" fmla="*/ 641347 w 1607604"/>
              <a:gd name="connsiteY0" fmla="*/ 0 h 1591155"/>
              <a:gd name="connsiteX1" fmla="*/ 966258 w 1607604"/>
              <a:gd name="connsiteY1" fmla="*/ 0 h 1591155"/>
              <a:gd name="connsiteX2" fmla="*/ 1042829 w 1607604"/>
              <a:gd name="connsiteY2" fmla="*/ 19688 h 1591155"/>
              <a:gd name="connsiteX3" fmla="*/ 1607604 w 1607604"/>
              <a:gd name="connsiteY3" fmla="*/ 787353 h 1591155"/>
              <a:gd name="connsiteX4" fmla="*/ 803802 w 1607604"/>
              <a:gd name="connsiteY4" fmla="*/ 1591155 h 1591155"/>
              <a:gd name="connsiteX5" fmla="*/ 0 w 1607604"/>
              <a:gd name="connsiteY5" fmla="*/ 787353 h 1591155"/>
              <a:gd name="connsiteX6" fmla="*/ 564776 w 1607604"/>
              <a:gd name="connsiteY6" fmla="*/ 19688 h 1591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7604" h="1591155">
                <a:moveTo>
                  <a:pt x="641347" y="0"/>
                </a:moveTo>
                <a:lnTo>
                  <a:pt x="966258" y="0"/>
                </a:lnTo>
                <a:lnTo>
                  <a:pt x="1042829" y="19688"/>
                </a:lnTo>
                <a:cubicBezTo>
                  <a:pt x="1370031" y="121459"/>
                  <a:pt x="1607604" y="426662"/>
                  <a:pt x="1607604" y="787353"/>
                </a:cubicBezTo>
                <a:cubicBezTo>
                  <a:pt x="1607604" y="1231281"/>
                  <a:pt x="1247730" y="1591155"/>
                  <a:pt x="803802" y="1591155"/>
                </a:cubicBezTo>
                <a:cubicBezTo>
                  <a:pt x="359874" y="1591155"/>
                  <a:pt x="0" y="1231281"/>
                  <a:pt x="0" y="787353"/>
                </a:cubicBezTo>
                <a:cubicBezTo>
                  <a:pt x="0" y="426662"/>
                  <a:pt x="237573" y="121459"/>
                  <a:pt x="564776" y="19688"/>
                </a:cubicBezTo>
                <a:close/>
              </a:path>
            </a:pathLst>
          </a:cu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3" name="Imagem 12">
            <a:extLst>
              <a:ext uri="{FF2B5EF4-FFF2-40B4-BE49-F238E27FC236}">
                <a16:creationId xmlns:a16="http://schemas.microsoft.com/office/drawing/2014/main" id="{39AF3B0B-5E5B-FA50-C4CB-6EBA7C91D81F}"/>
              </a:ext>
            </a:extLst>
          </p:cNvPr>
          <p:cNvPicPr>
            <a:picLocks noChangeAspect="1"/>
          </p:cNvPicPr>
          <p:nvPr/>
        </p:nvPicPr>
        <p:blipFill>
          <a:blip r:embed="rId15"/>
          <a:stretch>
            <a:fillRect/>
          </a:stretch>
        </p:blipFill>
        <p:spPr>
          <a:xfrm>
            <a:off x="5994935" y="1359070"/>
            <a:ext cx="1458425" cy="1469521"/>
          </a:xfrm>
          <a:prstGeom prst="ellipse">
            <a:avLst/>
          </a:prstGeom>
          <a:ln w="12700" cap="rnd">
            <a:solidFill>
              <a:schemeClr val="tx1"/>
            </a:solidFill>
          </a:ln>
          <a:effectLst>
            <a:outerShdw blurRad="381000" dist="292100" dir="5400000" sx="-80000" sy="-18000" rotWithShape="0">
              <a:srgbClr val="000000">
                <a:alpha val="22000"/>
              </a:srgbClr>
            </a:outerShdw>
          </a:effectLst>
        </p:spPr>
      </p:pic>
      <p:pic>
        <p:nvPicPr>
          <p:cNvPr id="16" name="Picture 6" descr="Manete de comando para navio - Todos os fabricantes do setor náutico e  marítimo">
            <a:extLst>
              <a:ext uri="{FF2B5EF4-FFF2-40B4-BE49-F238E27FC236}">
                <a16:creationId xmlns:a16="http://schemas.microsoft.com/office/drawing/2014/main" id="{8E29D8F3-2928-56E2-90F4-960B35404524}"/>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363621" y="1298901"/>
            <a:ext cx="1403133" cy="1365743"/>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17" name="Imagem 16" descr="C:\Users\ttfw\AppData\Local\Microsoft\Windows\INetCache\Content.MSO\869B0761.tmp">
            <a:extLst>
              <a:ext uri="{FF2B5EF4-FFF2-40B4-BE49-F238E27FC236}">
                <a16:creationId xmlns:a16="http://schemas.microsoft.com/office/drawing/2014/main" id="{4B6171BB-9FCC-AC23-2515-2FDA2C7C4597}"/>
              </a:ext>
            </a:extLst>
          </p:cNvPr>
          <p:cNvPicPr/>
          <p:nvPr/>
        </p:nvPicPr>
        <p:blipFill>
          <a:blip r:embed="rId17">
            <a:extLst>
              <a:ext uri="{28A0092B-C50C-407E-A947-70E740481C1C}">
                <a14:useLocalDpi xmlns:a14="http://schemas.microsoft.com/office/drawing/2010/main" val="0"/>
              </a:ext>
            </a:extLst>
          </a:blip>
          <a:srcRect/>
          <a:stretch>
            <a:fillRect/>
          </a:stretch>
        </p:blipFill>
        <p:spPr bwMode="auto">
          <a:xfrm>
            <a:off x="720509" y="1816529"/>
            <a:ext cx="1477216" cy="1424604"/>
          </a:xfrm>
          <a:prstGeom prst="ellipse">
            <a:avLst/>
          </a:prstGeom>
          <a:ln w="12700" cap="rnd">
            <a:solidFill>
              <a:schemeClr val="tx1"/>
            </a:solidFill>
          </a:ln>
          <a:effectLst>
            <a:outerShdw blurRad="381000" dist="292100" dir="5400000" sx="-80000" sy="-18000" rotWithShape="0">
              <a:srgbClr val="000000">
                <a:alpha val="22000"/>
              </a:srgbClr>
            </a:outerShdw>
          </a:effectLst>
        </p:spPr>
      </p:pic>
      <p:pic>
        <p:nvPicPr>
          <p:cNvPr id="19" name="Imagem 18">
            <a:extLst>
              <a:ext uri="{FF2B5EF4-FFF2-40B4-BE49-F238E27FC236}">
                <a16:creationId xmlns:a16="http://schemas.microsoft.com/office/drawing/2014/main" id="{E4B090CD-6C9F-4036-4911-0EBF1C34BBF4}"/>
              </a:ext>
            </a:extLst>
          </p:cNvPr>
          <p:cNvPicPr>
            <a:picLocks noChangeAspect="1"/>
          </p:cNvPicPr>
          <p:nvPr/>
        </p:nvPicPr>
        <p:blipFill rotWithShape="1">
          <a:blip r:embed="rId18"/>
          <a:srcRect l="34591" t="879" r="39412" b="2427"/>
          <a:stretch/>
        </p:blipFill>
        <p:spPr>
          <a:xfrm>
            <a:off x="7972726" y="1425029"/>
            <a:ext cx="1445046" cy="1469521"/>
          </a:xfrm>
          <a:custGeom>
            <a:avLst/>
            <a:gdLst>
              <a:gd name="connsiteX0" fmla="*/ 803802 w 1580829"/>
              <a:gd name="connsiteY0" fmla="*/ 0 h 1607604"/>
              <a:gd name="connsiteX1" fmla="*/ 1571467 w 1580829"/>
              <a:gd name="connsiteY1" fmla="*/ 564776 h 1607604"/>
              <a:gd name="connsiteX2" fmla="*/ 1580829 w 1580829"/>
              <a:gd name="connsiteY2" fmla="*/ 601187 h 1607604"/>
              <a:gd name="connsiteX3" fmla="*/ 1580829 w 1580829"/>
              <a:gd name="connsiteY3" fmla="*/ 1006417 h 1607604"/>
              <a:gd name="connsiteX4" fmla="*/ 1571467 w 1580829"/>
              <a:gd name="connsiteY4" fmla="*/ 1042828 h 1607604"/>
              <a:gd name="connsiteX5" fmla="*/ 803802 w 1580829"/>
              <a:gd name="connsiteY5" fmla="*/ 1607604 h 1607604"/>
              <a:gd name="connsiteX6" fmla="*/ 0 w 1580829"/>
              <a:gd name="connsiteY6" fmla="*/ 803802 h 1607604"/>
              <a:gd name="connsiteX7" fmla="*/ 803802 w 1580829"/>
              <a:gd name="connsiteY7" fmla="*/ 0 h 1607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80829" h="1607604">
                <a:moveTo>
                  <a:pt x="803802" y="0"/>
                </a:moveTo>
                <a:cubicBezTo>
                  <a:pt x="1164494" y="0"/>
                  <a:pt x="1469696" y="237573"/>
                  <a:pt x="1571467" y="564776"/>
                </a:cubicBezTo>
                <a:lnTo>
                  <a:pt x="1580829" y="601187"/>
                </a:lnTo>
                <a:lnTo>
                  <a:pt x="1580829" y="1006417"/>
                </a:lnTo>
                <a:lnTo>
                  <a:pt x="1571467" y="1042828"/>
                </a:lnTo>
                <a:cubicBezTo>
                  <a:pt x="1469696" y="1370031"/>
                  <a:pt x="1164494" y="1607604"/>
                  <a:pt x="803802" y="1607604"/>
                </a:cubicBezTo>
                <a:cubicBezTo>
                  <a:pt x="359874" y="1607604"/>
                  <a:pt x="0" y="1247730"/>
                  <a:pt x="0" y="803802"/>
                </a:cubicBezTo>
                <a:cubicBezTo>
                  <a:pt x="0" y="359874"/>
                  <a:pt x="359874" y="0"/>
                  <a:pt x="803802" y="0"/>
                </a:cubicBezTo>
                <a:close/>
              </a:path>
            </a:pathLst>
          </a:custGeom>
          <a:ln>
            <a:solidFill>
              <a:schemeClr val="tx1"/>
            </a:solidFill>
          </a:ln>
        </p:spPr>
      </p:pic>
      <p:cxnSp>
        <p:nvCxnSpPr>
          <p:cNvPr id="20" name="Conector reto 19">
            <a:extLst>
              <a:ext uri="{FF2B5EF4-FFF2-40B4-BE49-F238E27FC236}">
                <a16:creationId xmlns:a16="http://schemas.microsoft.com/office/drawing/2014/main" id="{CD7BFD01-04DD-7FDD-5BA1-C59EF6D4833D}"/>
              </a:ext>
            </a:extLst>
          </p:cNvPr>
          <p:cNvCxnSpPr>
            <a:cxnSpLocks/>
            <a:stCxn id="17" idx="4"/>
          </p:cNvCxnSpPr>
          <p:nvPr/>
        </p:nvCxnSpPr>
        <p:spPr>
          <a:xfrm>
            <a:off x="1459117" y="3241133"/>
            <a:ext cx="1473369" cy="1242222"/>
          </a:xfrm>
          <a:prstGeom prst="line">
            <a:avLst/>
          </a:prstGeom>
          <a:ln w="12700"/>
        </p:spPr>
        <p:style>
          <a:lnRef idx="1">
            <a:schemeClr val="dk1"/>
          </a:lnRef>
          <a:fillRef idx="0">
            <a:schemeClr val="dk1"/>
          </a:fillRef>
          <a:effectRef idx="0">
            <a:schemeClr val="dk1"/>
          </a:effectRef>
          <a:fontRef idx="minor">
            <a:schemeClr val="tx1"/>
          </a:fontRef>
        </p:style>
      </p:cxnSp>
      <p:cxnSp>
        <p:nvCxnSpPr>
          <p:cNvPr id="21" name="Conector reto 20">
            <a:extLst>
              <a:ext uri="{FF2B5EF4-FFF2-40B4-BE49-F238E27FC236}">
                <a16:creationId xmlns:a16="http://schemas.microsoft.com/office/drawing/2014/main" id="{36F93CC6-989D-DB8A-A61E-105BA5174EAC}"/>
              </a:ext>
            </a:extLst>
          </p:cNvPr>
          <p:cNvCxnSpPr>
            <a:cxnSpLocks/>
            <a:stCxn id="9" idx="6"/>
          </p:cNvCxnSpPr>
          <p:nvPr/>
        </p:nvCxnSpPr>
        <p:spPr>
          <a:xfrm>
            <a:off x="1858374" y="4206877"/>
            <a:ext cx="585283" cy="589979"/>
          </a:xfrm>
          <a:prstGeom prst="line">
            <a:avLst/>
          </a:prstGeom>
          <a:ln w="12700"/>
        </p:spPr>
        <p:style>
          <a:lnRef idx="1">
            <a:schemeClr val="dk1"/>
          </a:lnRef>
          <a:fillRef idx="0">
            <a:schemeClr val="dk1"/>
          </a:fillRef>
          <a:effectRef idx="0">
            <a:schemeClr val="dk1"/>
          </a:effectRef>
          <a:fontRef idx="minor">
            <a:schemeClr val="tx1"/>
          </a:fontRef>
        </p:style>
      </p:cxnSp>
      <p:cxnSp>
        <p:nvCxnSpPr>
          <p:cNvPr id="22" name="Conector reto 21">
            <a:extLst>
              <a:ext uri="{FF2B5EF4-FFF2-40B4-BE49-F238E27FC236}">
                <a16:creationId xmlns:a16="http://schemas.microsoft.com/office/drawing/2014/main" id="{5CAE65C1-2BC8-F68D-3B6C-E177C43669CE}"/>
              </a:ext>
            </a:extLst>
          </p:cNvPr>
          <p:cNvCxnSpPr>
            <a:cxnSpLocks/>
            <a:stCxn id="6" idx="7"/>
          </p:cNvCxnSpPr>
          <p:nvPr/>
        </p:nvCxnSpPr>
        <p:spPr>
          <a:xfrm flipV="1">
            <a:off x="2112892" y="4801600"/>
            <a:ext cx="559022" cy="740048"/>
          </a:xfrm>
          <a:prstGeom prst="line">
            <a:avLst/>
          </a:prstGeom>
          <a:ln w="12700"/>
        </p:spPr>
        <p:style>
          <a:lnRef idx="1">
            <a:schemeClr val="dk1"/>
          </a:lnRef>
          <a:fillRef idx="0">
            <a:schemeClr val="dk1"/>
          </a:fillRef>
          <a:effectRef idx="0">
            <a:schemeClr val="dk1"/>
          </a:effectRef>
          <a:fontRef idx="minor">
            <a:schemeClr val="tx1"/>
          </a:fontRef>
        </p:style>
      </p:cxnSp>
      <p:cxnSp>
        <p:nvCxnSpPr>
          <p:cNvPr id="23" name="Conector reto 22">
            <a:extLst>
              <a:ext uri="{FF2B5EF4-FFF2-40B4-BE49-F238E27FC236}">
                <a16:creationId xmlns:a16="http://schemas.microsoft.com/office/drawing/2014/main" id="{2C780B12-0691-E1D9-27A4-011197414263}"/>
              </a:ext>
            </a:extLst>
          </p:cNvPr>
          <p:cNvCxnSpPr>
            <a:cxnSpLocks/>
            <a:stCxn id="50" idx="0"/>
          </p:cNvCxnSpPr>
          <p:nvPr/>
        </p:nvCxnSpPr>
        <p:spPr>
          <a:xfrm flipH="1" flipV="1">
            <a:off x="3086879" y="4801600"/>
            <a:ext cx="669007" cy="551081"/>
          </a:xfrm>
          <a:prstGeom prst="line">
            <a:avLst/>
          </a:prstGeom>
          <a:ln w="12700"/>
        </p:spPr>
        <p:style>
          <a:lnRef idx="1">
            <a:schemeClr val="dk1"/>
          </a:lnRef>
          <a:fillRef idx="0">
            <a:schemeClr val="dk1"/>
          </a:fillRef>
          <a:effectRef idx="0">
            <a:schemeClr val="dk1"/>
          </a:effectRef>
          <a:fontRef idx="minor">
            <a:schemeClr val="tx1"/>
          </a:fontRef>
        </p:style>
      </p:cxnSp>
      <p:cxnSp>
        <p:nvCxnSpPr>
          <p:cNvPr id="25" name="Conector reto 24">
            <a:extLst>
              <a:ext uri="{FF2B5EF4-FFF2-40B4-BE49-F238E27FC236}">
                <a16:creationId xmlns:a16="http://schemas.microsoft.com/office/drawing/2014/main" id="{B9E57011-194C-A6B8-B934-01F83C6CCC76}"/>
              </a:ext>
            </a:extLst>
          </p:cNvPr>
          <p:cNvCxnSpPr>
            <a:cxnSpLocks/>
            <a:stCxn id="7" idx="1"/>
          </p:cNvCxnSpPr>
          <p:nvPr/>
        </p:nvCxnSpPr>
        <p:spPr>
          <a:xfrm flipH="1" flipV="1">
            <a:off x="2926432" y="4632834"/>
            <a:ext cx="2946685" cy="889488"/>
          </a:xfrm>
          <a:prstGeom prst="line">
            <a:avLst/>
          </a:prstGeom>
          <a:ln w="12700"/>
        </p:spPr>
        <p:style>
          <a:lnRef idx="1">
            <a:schemeClr val="dk1"/>
          </a:lnRef>
          <a:fillRef idx="0">
            <a:schemeClr val="dk1"/>
          </a:fillRef>
          <a:effectRef idx="0">
            <a:schemeClr val="dk1"/>
          </a:effectRef>
          <a:fontRef idx="minor">
            <a:schemeClr val="tx1"/>
          </a:fontRef>
        </p:style>
      </p:cxnSp>
      <p:cxnSp>
        <p:nvCxnSpPr>
          <p:cNvPr id="27" name="Conector reto 26">
            <a:extLst>
              <a:ext uri="{FF2B5EF4-FFF2-40B4-BE49-F238E27FC236}">
                <a16:creationId xmlns:a16="http://schemas.microsoft.com/office/drawing/2014/main" id="{AAB51DA9-8CF6-F885-2B3D-AC9BF3D4B07B}"/>
              </a:ext>
            </a:extLst>
          </p:cNvPr>
          <p:cNvCxnSpPr>
            <a:cxnSpLocks/>
            <a:stCxn id="5" idx="1"/>
          </p:cNvCxnSpPr>
          <p:nvPr/>
        </p:nvCxnSpPr>
        <p:spPr>
          <a:xfrm flipH="1" flipV="1">
            <a:off x="9030660" y="4850912"/>
            <a:ext cx="1852790" cy="822164"/>
          </a:xfrm>
          <a:prstGeom prst="line">
            <a:avLst/>
          </a:prstGeom>
          <a:ln w="12700"/>
        </p:spPr>
        <p:style>
          <a:lnRef idx="1">
            <a:schemeClr val="dk1"/>
          </a:lnRef>
          <a:fillRef idx="0">
            <a:schemeClr val="dk1"/>
          </a:fillRef>
          <a:effectRef idx="0">
            <a:schemeClr val="dk1"/>
          </a:effectRef>
          <a:fontRef idx="minor">
            <a:schemeClr val="tx1"/>
          </a:fontRef>
        </p:style>
      </p:cxnSp>
      <p:cxnSp>
        <p:nvCxnSpPr>
          <p:cNvPr id="28" name="Conector reto 27">
            <a:extLst>
              <a:ext uri="{FF2B5EF4-FFF2-40B4-BE49-F238E27FC236}">
                <a16:creationId xmlns:a16="http://schemas.microsoft.com/office/drawing/2014/main" id="{53F4BCF8-AFF4-E995-1F6C-E5151B344CCF}"/>
              </a:ext>
            </a:extLst>
          </p:cNvPr>
          <p:cNvCxnSpPr>
            <a:cxnSpLocks/>
            <a:stCxn id="10" idx="5"/>
          </p:cNvCxnSpPr>
          <p:nvPr/>
        </p:nvCxnSpPr>
        <p:spPr>
          <a:xfrm flipH="1">
            <a:off x="10115983" y="4498952"/>
            <a:ext cx="628941" cy="125956"/>
          </a:xfrm>
          <a:prstGeom prst="line">
            <a:avLst/>
          </a:prstGeom>
          <a:ln w="12700"/>
        </p:spPr>
        <p:style>
          <a:lnRef idx="1">
            <a:schemeClr val="dk1"/>
          </a:lnRef>
          <a:fillRef idx="0">
            <a:schemeClr val="dk1"/>
          </a:fillRef>
          <a:effectRef idx="0">
            <a:schemeClr val="dk1"/>
          </a:effectRef>
          <a:fontRef idx="minor">
            <a:schemeClr val="tx1"/>
          </a:fontRef>
        </p:style>
      </p:cxnSp>
      <p:cxnSp>
        <p:nvCxnSpPr>
          <p:cNvPr id="29" name="Conector reto 28">
            <a:extLst>
              <a:ext uri="{FF2B5EF4-FFF2-40B4-BE49-F238E27FC236}">
                <a16:creationId xmlns:a16="http://schemas.microsoft.com/office/drawing/2014/main" id="{049291C5-99B3-3A7C-8E4E-2DC726DEC084}"/>
              </a:ext>
            </a:extLst>
          </p:cNvPr>
          <p:cNvCxnSpPr>
            <a:cxnSpLocks/>
            <a:stCxn id="16" idx="4"/>
          </p:cNvCxnSpPr>
          <p:nvPr/>
        </p:nvCxnSpPr>
        <p:spPr>
          <a:xfrm flipH="1">
            <a:off x="3657600" y="2664644"/>
            <a:ext cx="407588" cy="629544"/>
          </a:xfrm>
          <a:prstGeom prst="line">
            <a:avLst/>
          </a:prstGeom>
          <a:ln w="12700"/>
        </p:spPr>
        <p:style>
          <a:lnRef idx="1">
            <a:schemeClr val="dk1"/>
          </a:lnRef>
          <a:fillRef idx="0">
            <a:schemeClr val="dk1"/>
          </a:fillRef>
          <a:effectRef idx="0">
            <a:schemeClr val="dk1"/>
          </a:effectRef>
          <a:fontRef idx="minor">
            <a:schemeClr val="tx1"/>
          </a:fontRef>
        </p:style>
      </p:cxnSp>
      <p:cxnSp>
        <p:nvCxnSpPr>
          <p:cNvPr id="32" name="Conector reto 31">
            <a:extLst>
              <a:ext uri="{FF2B5EF4-FFF2-40B4-BE49-F238E27FC236}">
                <a16:creationId xmlns:a16="http://schemas.microsoft.com/office/drawing/2014/main" id="{A0571855-608B-685B-C374-4344275B01C8}"/>
              </a:ext>
            </a:extLst>
          </p:cNvPr>
          <p:cNvCxnSpPr>
            <a:cxnSpLocks/>
            <a:stCxn id="13" idx="3"/>
          </p:cNvCxnSpPr>
          <p:nvPr/>
        </p:nvCxnSpPr>
        <p:spPr>
          <a:xfrm flipH="1">
            <a:off x="3490883" y="2613385"/>
            <a:ext cx="2717633" cy="1869970"/>
          </a:xfrm>
          <a:prstGeom prst="line">
            <a:avLst/>
          </a:prstGeom>
          <a:ln w="12700"/>
        </p:spPr>
        <p:style>
          <a:lnRef idx="1">
            <a:schemeClr val="dk1"/>
          </a:lnRef>
          <a:fillRef idx="0">
            <a:schemeClr val="dk1"/>
          </a:fillRef>
          <a:effectRef idx="0">
            <a:schemeClr val="dk1"/>
          </a:effectRef>
          <a:fontRef idx="minor">
            <a:schemeClr val="tx1"/>
          </a:fontRef>
        </p:style>
      </p:cxnSp>
      <p:sp>
        <p:nvSpPr>
          <p:cNvPr id="33" name="CaixaDeTexto 32">
            <a:extLst>
              <a:ext uri="{FF2B5EF4-FFF2-40B4-BE49-F238E27FC236}">
                <a16:creationId xmlns:a16="http://schemas.microsoft.com/office/drawing/2014/main" id="{0D2ABD4D-1B90-B54B-C489-546F9999F0EB}"/>
              </a:ext>
            </a:extLst>
          </p:cNvPr>
          <p:cNvSpPr txBox="1"/>
          <p:nvPr/>
        </p:nvSpPr>
        <p:spPr>
          <a:xfrm>
            <a:off x="2178807" y="6435099"/>
            <a:ext cx="755374" cy="338554"/>
          </a:xfrm>
          <a:prstGeom prst="rect">
            <a:avLst/>
          </a:prstGeom>
          <a:noFill/>
        </p:spPr>
        <p:txBody>
          <a:bodyPr wrap="square" rtlCol="0">
            <a:spAutoFit/>
          </a:bodyPr>
          <a:lstStyle/>
          <a:p>
            <a:r>
              <a:rPr lang="pt-BR" sz="1600" dirty="0">
                <a:solidFill>
                  <a:schemeClr val="bg1"/>
                </a:solidFill>
              </a:rPr>
              <a:t>PBCF</a:t>
            </a:r>
          </a:p>
        </p:txBody>
      </p:sp>
      <p:sp>
        <p:nvSpPr>
          <p:cNvPr id="34" name="CaixaDeTexto 33">
            <a:extLst>
              <a:ext uri="{FF2B5EF4-FFF2-40B4-BE49-F238E27FC236}">
                <a16:creationId xmlns:a16="http://schemas.microsoft.com/office/drawing/2014/main" id="{E2A6522D-9470-0780-E4E5-35954AA173E9}"/>
              </a:ext>
            </a:extLst>
          </p:cNvPr>
          <p:cNvSpPr txBox="1"/>
          <p:nvPr/>
        </p:nvSpPr>
        <p:spPr>
          <a:xfrm>
            <a:off x="6970795" y="6408217"/>
            <a:ext cx="719625" cy="338554"/>
          </a:xfrm>
          <a:prstGeom prst="rect">
            <a:avLst/>
          </a:prstGeom>
          <a:noFill/>
        </p:spPr>
        <p:txBody>
          <a:bodyPr wrap="square" rtlCol="0">
            <a:spAutoFit/>
          </a:bodyPr>
          <a:lstStyle/>
          <a:p>
            <a:r>
              <a:rPr lang="pt-BR" sz="1600" dirty="0">
                <a:solidFill>
                  <a:schemeClr val="bg1"/>
                </a:solidFill>
              </a:rPr>
              <a:t>PSD</a:t>
            </a:r>
          </a:p>
        </p:txBody>
      </p:sp>
      <p:sp>
        <p:nvSpPr>
          <p:cNvPr id="35" name="CaixaDeTexto 34">
            <a:extLst>
              <a:ext uri="{FF2B5EF4-FFF2-40B4-BE49-F238E27FC236}">
                <a16:creationId xmlns:a16="http://schemas.microsoft.com/office/drawing/2014/main" id="{10842C7C-D55B-8AA7-3D2E-161EF46E5A21}"/>
              </a:ext>
            </a:extLst>
          </p:cNvPr>
          <p:cNvSpPr txBox="1"/>
          <p:nvPr/>
        </p:nvSpPr>
        <p:spPr>
          <a:xfrm>
            <a:off x="524619" y="4885294"/>
            <a:ext cx="1467314" cy="338554"/>
          </a:xfrm>
          <a:prstGeom prst="rect">
            <a:avLst/>
          </a:prstGeom>
          <a:noFill/>
        </p:spPr>
        <p:txBody>
          <a:bodyPr wrap="square" rtlCol="0">
            <a:spAutoFit/>
          </a:bodyPr>
          <a:lstStyle/>
          <a:p>
            <a:r>
              <a:rPr lang="pt-BR" sz="1600" dirty="0"/>
              <a:t>Rudder </a:t>
            </a:r>
            <a:r>
              <a:rPr lang="pt-BR" sz="1600" dirty="0" err="1"/>
              <a:t>Bulb</a:t>
            </a:r>
            <a:endParaRPr lang="pt-BR" sz="1600" dirty="0"/>
          </a:p>
        </p:txBody>
      </p:sp>
      <p:sp>
        <p:nvSpPr>
          <p:cNvPr id="36" name="CaixaDeTexto 35">
            <a:extLst>
              <a:ext uri="{FF2B5EF4-FFF2-40B4-BE49-F238E27FC236}">
                <a16:creationId xmlns:a16="http://schemas.microsoft.com/office/drawing/2014/main" id="{C1B205E4-014B-D257-F517-18A02AF6C373}"/>
              </a:ext>
            </a:extLst>
          </p:cNvPr>
          <p:cNvSpPr txBox="1"/>
          <p:nvPr/>
        </p:nvSpPr>
        <p:spPr>
          <a:xfrm>
            <a:off x="10535585" y="3444679"/>
            <a:ext cx="1784833" cy="338554"/>
          </a:xfrm>
          <a:prstGeom prst="rect">
            <a:avLst/>
          </a:prstGeom>
          <a:noFill/>
        </p:spPr>
        <p:txBody>
          <a:bodyPr wrap="square" rtlCol="0">
            <a:spAutoFit/>
          </a:bodyPr>
          <a:lstStyle/>
          <a:p>
            <a:r>
              <a:rPr lang="pt-BR" sz="1600" dirty="0"/>
              <a:t>Trim </a:t>
            </a:r>
            <a:r>
              <a:rPr lang="pt-BR" sz="1600" dirty="0" err="1"/>
              <a:t>Optimization</a:t>
            </a:r>
            <a:endParaRPr lang="pt-BR" sz="1600" dirty="0"/>
          </a:p>
        </p:txBody>
      </p:sp>
      <p:sp>
        <p:nvSpPr>
          <p:cNvPr id="37" name="CaixaDeTexto 36">
            <a:extLst>
              <a:ext uri="{FF2B5EF4-FFF2-40B4-BE49-F238E27FC236}">
                <a16:creationId xmlns:a16="http://schemas.microsoft.com/office/drawing/2014/main" id="{BF0B4291-DBA1-BE7A-736E-74A6E583A1C7}"/>
              </a:ext>
            </a:extLst>
          </p:cNvPr>
          <p:cNvSpPr txBox="1"/>
          <p:nvPr/>
        </p:nvSpPr>
        <p:spPr>
          <a:xfrm>
            <a:off x="10839485" y="1354088"/>
            <a:ext cx="1493633" cy="338554"/>
          </a:xfrm>
          <a:prstGeom prst="rect">
            <a:avLst/>
          </a:prstGeom>
          <a:noFill/>
        </p:spPr>
        <p:txBody>
          <a:bodyPr wrap="square" rtlCol="0">
            <a:spAutoFit/>
          </a:bodyPr>
          <a:lstStyle/>
          <a:p>
            <a:r>
              <a:rPr lang="pt-BR" sz="1600" dirty="0"/>
              <a:t>LED </a:t>
            </a:r>
            <a:r>
              <a:rPr lang="pt-BR" sz="1600" dirty="0" err="1"/>
              <a:t>Lighting</a:t>
            </a:r>
            <a:endParaRPr lang="pt-BR" sz="1600" dirty="0"/>
          </a:p>
        </p:txBody>
      </p:sp>
      <p:sp>
        <p:nvSpPr>
          <p:cNvPr id="38" name="CaixaDeTexto 37">
            <a:extLst>
              <a:ext uri="{FF2B5EF4-FFF2-40B4-BE49-F238E27FC236}">
                <a16:creationId xmlns:a16="http://schemas.microsoft.com/office/drawing/2014/main" id="{880A066E-781B-5D1D-53A7-641978E25E72}"/>
              </a:ext>
            </a:extLst>
          </p:cNvPr>
          <p:cNvSpPr txBox="1"/>
          <p:nvPr/>
        </p:nvSpPr>
        <p:spPr>
          <a:xfrm>
            <a:off x="7226349" y="1323726"/>
            <a:ext cx="1370160" cy="338554"/>
          </a:xfrm>
          <a:prstGeom prst="rect">
            <a:avLst/>
          </a:prstGeom>
          <a:noFill/>
        </p:spPr>
        <p:txBody>
          <a:bodyPr wrap="square" rtlCol="0">
            <a:spAutoFit/>
          </a:bodyPr>
          <a:lstStyle/>
          <a:p>
            <a:r>
              <a:rPr lang="pt-BR" sz="1600" dirty="0"/>
              <a:t>VFD</a:t>
            </a:r>
          </a:p>
        </p:txBody>
      </p:sp>
      <p:sp>
        <p:nvSpPr>
          <p:cNvPr id="39" name="CaixaDeTexto 38">
            <a:extLst>
              <a:ext uri="{FF2B5EF4-FFF2-40B4-BE49-F238E27FC236}">
                <a16:creationId xmlns:a16="http://schemas.microsoft.com/office/drawing/2014/main" id="{E1D9037C-F582-EFF5-567A-A91F7D646AE4}"/>
              </a:ext>
            </a:extLst>
          </p:cNvPr>
          <p:cNvSpPr txBox="1"/>
          <p:nvPr/>
        </p:nvSpPr>
        <p:spPr>
          <a:xfrm>
            <a:off x="4700460" y="1252341"/>
            <a:ext cx="1152556" cy="584775"/>
          </a:xfrm>
          <a:prstGeom prst="rect">
            <a:avLst/>
          </a:prstGeom>
          <a:noFill/>
        </p:spPr>
        <p:txBody>
          <a:bodyPr wrap="square" rtlCol="0">
            <a:spAutoFit/>
          </a:bodyPr>
          <a:lstStyle/>
          <a:p>
            <a:r>
              <a:rPr lang="pt-BR" sz="1600" dirty="0" err="1"/>
              <a:t>Propulsion</a:t>
            </a:r>
            <a:r>
              <a:rPr lang="pt-BR" sz="1600" dirty="0"/>
              <a:t> </a:t>
            </a:r>
            <a:r>
              <a:rPr lang="pt-BR" sz="1600" dirty="0" err="1"/>
              <a:t>Control</a:t>
            </a:r>
            <a:endParaRPr lang="pt-BR" sz="1600" dirty="0"/>
          </a:p>
        </p:txBody>
      </p:sp>
      <p:sp>
        <p:nvSpPr>
          <p:cNvPr id="40" name="CaixaDeTexto 39">
            <a:extLst>
              <a:ext uri="{FF2B5EF4-FFF2-40B4-BE49-F238E27FC236}">
                <a16:creationId xmlns:a16="http://schemas.microsoft.com/office/drawing/2014/main" id="{1F6E4A53-7A5F-BAE1-E9A8-C4E1BC67C6B5}"/>
              </a:ext>
            </a:extLst>
          </p:cNvPr>
          <p:cNvSpPr txBox="1"/>
          <p:nvPr/>
        </p:nvSpPr>
        <p:spPr>
          <a:xfrm>
            <a:off x="9301039" y="1248945"/>
            <a:ext cx="1370160" cy="584775"/>
          </a:xfrm>
          <a:prstGeom prst="rect">
            <a:avLst/>
          </a:prstGeom>
          <a:noFill/>
        </p:spPr>
        <p:txBody>
          <a:bodyPr wrap="square" rtlCol="0">
            <a:spAutoFit/>
          </a:bodyPr>
          <a:lstStyle/>
          <a:p>
            <a:r>
              <a:rPr lang="pt-BR" sz="1600" dirty="0"/>
              <a:t>Coriolis flowmeters</a:t>
            </a:r>
          </a:p>
        </p:txBody>
      </p:sp>
      <p:sp>
        <p:nvSpPr>
          <p:cNvPr id="41" name="CaixaDeTexto 40">
            <a:extLst>
              <a:ext uri="{FF2B5EF4-FFF2-40B4-BE49-F238E27FC236}">
                <a16:creationId xmlns:a16="http://schemas.microsoft.com/office/drawing/2014/main" id="{823A849A-5057-2CED-AEBD-35038AE2780E}"/>
              </a:ext>
            </a:extLst>
          </p:cNvPr>
          <p:cNvSpPr txBox="1"/>
          <p:nvPr/>
        </p:nvSpPr>
        <p:spPr>
          <a:xfrm>
            <a:off x="1669098" y="1274396"/>
            <a:ext cx="1340498" cy="584775"/>
          </a:xfrm>
          <a:prstGeom prst="rect">
            <a:avLst/>
          </a:prstGeom>
          <a:noFill/>
        </p:spPr>
        <p:txBody>
          <a:bodyPr wrap="square" rtlCol="0">
            <a:spAutoFit/>
          </a:bodyPr>
          <a:lstStyle/>
          <a:p>
            <a:r>
              <a:rPr lang="pt-BR" sz="1600" dirty="0" err="1"/>
              <a:t>Engine</a:t>
            </a:r>
            <a:r>
              <a:rPr lang="pt-BR" sz="1600" dirty="0"/>
              <a:t> </a:t>
            </a:r>
            <a:r>
              <a:rPr lang="pt-BR" sz="1600" dirty="0" err="1"/>
              <a:t>Optimization</a:t>
            </a:r>
            <a:endParaRPr lang="pt-BR" sz="1600" dirty="0"/>
          </a:p>
        </p:txBody>
      </p:sp>
      <p:cxnSp>
        <p:nvCxnSpPr>
          <p:cNvPr id="42" name="Conector reto 41">
            <a:extLst>
              <a:ext uri="{FF2B5EF4-FFF2-40B4-BE49-F238E27FC236}">
                <a16:creationId xmlns:a16="http://schemas.microsoft.com/office/drawing/2014/main" id="{0CBE80E5-00BC-9D50-A317-9C275626A550}"/>
              </a:ext>
            </a:extLst>
          </p:cNvPr>
          <p:cNvCxnSpPr>
            <a:cxnSpLocks/>
            <a:stCxn id="19" idx="5"/>
          </p:cNvCxnSpPr>
          <p:nvPr/>
        </p:nvCxnSpPr>
        <p:spPr>
          <a:xfrm flipH="1">
            <a:off x="3232824" y="2894550"/>
            <a:ext cx="5474663" cy="1712540"/>
          </a:xfrm>
          <a:prstGeom prst="line">
            <a:avLst/>
          </a:prstGeom>
          <a:ln w="12700"/>
        </p:spPr>
        <p:style>
          <a:lnRef idx="1">
            <a:schemeClr val="dk1"/>
          </a:lnRef>
          <a:fillRef idx="0">
            <a:schemeClr val="dk1"/>
          </a:fillRef>
          <a:effectRef idx="0">
            <a:schemeClr val="dk1"/>
          </a:effectRef>
          <a:fontRef idx="minor">
            <a:schemeClr val="tx1"/>
          </a:fontRef>
        </p:style>
      </p:cxnSp>
      <p:cxnSp>
        <p:nvCxnSpPr>
          <p:cNvPr id="43" name="Conector reto 42">
            <a:extLst>
              <a:ext uri="{FF2B5EF4-FFF2-40B4-BE49-F238E27FC236}">
                <a16:creationId xmlns:a16="http://schemas.microsoft.com/office/drawing/2014/main" id="{1345B2AF-DF59-3C87-1F86-2ACEC3C39BCF}"/>
              </a:ext>
            </a:extLst>
          </p:cNvPr>
          <p:cNvCxnSpPr>
            <a:cxnSpLocks/>
            <a:stCxn id="45" idx="6"/>
          </p:cNvCxnSpPr>
          <p:nvPr/>
        </p:nvCxnSpPr>
        <p:spPr>
          <a:xfrm flipH="1">
            <a:off x="9526986" y="2456496"/>
            <a:ext cx="1206148" cy="1015069"/>
          </a:xfrm>
          <a:prstGeom prst="line">
            <a:avLst/>
          </a:prstGeom>
          <a:ln w="12700"/>
        </p:spPr>
        <p:style>
          <a:lnRef idx="1">
            <a:schemeClr val="dk1"/>
          </a:lnRef>
          <a:fillRef idx="0">
            <a:schemeClr val="dk1"/>
          </a:fillRef>
          <a:effectRef idx="0">
            <a:schemeClr val="dk1"/>
          </a:effectRef>
          <a:fontRef idx="minor">
            <a:schemeClr val="tx1"/>
          </a:fontRef>
        </p:style>
      </p:cxnSp>
      <p:sp>
        <p:nvSpPr>
          <p:cNvPr id="44" name="CaixaDeTexto 43">
            <a:extLst>
              <a:ext uri="{FF2B5EF4-FFF2-40B4-BE49-F238E27FC236}">
                <a16:creationId xmlns:a16="http://schemas.microsoft.com/office/drawing/2014/main" id="{0E583E4D-4234-37CF-FAF8-E7C743F06F79}"/>
              </a:ext>
            </a:extLst>
          </p:cNvPr>
          <p:cNvSpPr txBox="1"/>
          <p:nvPr/>
        </p:nvSpPr>
        <p:spPr>
          <a:xfrm>
            <a:off x="9501586" y="5261994"/>
            <a:ext cx="1553074" cy="830997"/>
          </a:xfrm>
          <a:prstGeom prst="rect">
            <a:avLst/>
          </a:prstGeom>
          <a:noFill/>
        </p:spPr>
        <p:txBody>
          <a:bodyPr wrap="square" rtlCol="0">
            <a:spAutoFit/>
          </a:bodyPr>
          <a:lstStyle/>
          <a:p>
            <a:r>
              <a:rPr lang="pt-BR" sz="1600" dirty="0"/>
              <a:t>High Performance AF </a:t>
            </a:r>
            <a:r>
              <a:rPr lang="pt-BR" sz="1600" dirty="0" err="1"/>
              <a:t>Coating</a:t>
            </a:r>
            <a:endParaRPr lang="pt-BR" sz="1600" dirty="0"/>
          </a:p>
        </p:txBody>
      </p:sp>
      <p:pic>
        <p:nvPicPr>
          <p:cNvPr id="45" name="Imagem 44" descr="Floodlights for Ships from Glamox | TTTBV">
            <a:extLst>
              <a:ext uri="{FF2B5EF4-FFF2-40B4-BE49-F238E27FC236}">
                <a16:creationId xmlns:a16="http://schemas.microsoft.com/office/drawing/2014/main" id="{34413337-418D-505A-8E34-C83DCA6399C3}"/>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0733134" y="1717408"/>
            <a:ext cx="1478174" cy="1478175"/>
          </a:xfrm>
          <a:custGeom>
            <a:avLst/>
            <a:gdLst>
              <a:gd name="connsiteX0" fmla="*/ 803802 w 1607603"/>
              <a:gd name="connsiteY0" fmla="*/ 0 h 1607604"/>
              <a:gd name="connsiteX1" fmla="*/ 1603454 w 1607603"/>
              <a:gd name="connsiteY1" fmla="*/ 721618 h 1607604"/>
              <a:gd name="connsiteX2" fmla="*/ 1607603 w 1607603"/>
              <a:gd name="connsiteY2" fmla="*/ 803782 h 1607604"/>
              <a:gd name="connsiteX3" fmla="*/ 1607603 w 1607603"/>
              <a:gd name="connsiteY3" fmla="*/ 803822 h 1607604"/>
              <a:gd name="connsiteX4" fmla="*/ 1603454 w 1607603"/>
              <a:gd name="connsiteY4" fmla="*/ 885986 h 1607604"/>
              <a:gd name="connsiteX5" fmla="*/ 803802 w 1607603"/>
              <a:gd name="connsiteY5" fmla="*/ 1607604 h 1607604"/>
              <a:gd name="connsiteX6" fmla="*/ 0 w 1607603"/>
              <a:gd name="connsiteY6" fmla="*/ 803802 h 1607604"/>
              <a:gd name="connsiteX7" fmla="*/ 803802 w 1607603"/>
              <a:gd name="connsiteY7" fmla="*/ 0 h 1607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7603" h="1607604">
                <a:moveTo>
                  <a:pt x="803802" y="0"/>
                </a:moveTo>
                <a:cubicBezTo>
                  <a:pt x="1219985" y="0"/>
                  <a:pt x="1562292" y="316296"/>
                  <a:pt x="1603454" y="721618"/>
                </a:cubicBezTo>
                <a:lnTo>
                  <a:pt x="1607603" y="803782"/>
                </a:lnTo>
                <a:lnTo>
                  <a:pt x="1607603" y="803822"/>
                </a:lnTo>
                <a:lnTo>
                  <a:pt x="1603454" y="885986"/>
                </a:lnTo>
                <a:cubicBezTo>
                  <a:pt x="1562292" y="1291309"/>
                  <a:pt x="1219985" y="1607604"/>
                  <a:pt x="803802" y="1607604"/>
                </a:cubicBezTo>
                <a:cubicBezTo>
                  <a:pt x="359874" y="1607604"/>
                  <a:pt x="0" y="1247730"/>
                  <a:pt x="0" y="803802"/>
                </a:cubicBezTo>
                <a:cubicBezTo>
                  <a:pt x="0" y="359874"/>
                  <a:pt x="359874" y="0"/>
                  <a:pt x="803802" y="0"/>
                </a:cubicBezTo>
                <a:close/>
              </a:path>
            </a:pathLst>
          </a:custGeom>
          <a:noFill/>
          <a:ln>
            <a:solidFill>
              <a:schemeClr val="tx1"/>
            </a:solidFill>
          </a:ln>
          <a:extLst>
            <a:ext uri="{909E8E84-426E-40DD-AFC4-6F175D3DCCD1}">
              <a14:hiddenFill xmlns:a14="http://schemas.microsoft.com/office/drawing/2010/main">
                <a:solidFill>
                  <a:srgbClr val="FFFFFF"/>
                </a:solidFill>
              </a14:hiddenFill>
            </a:ext>
          </a:extLst>
        </p:spPr>
      </p:pic>
      <p:cxnSp>
        <p:nvCxnSpPr>
          <p:cNvPr id="46" name="Conector reto 45">
            <a:extLst>
              <a:ext uri="{FF2B5EF4-FFF2-40B4-BE49-F238E27FC236}">
                <a16:creationId xmlns:a16="http://schemas.microsoft.com/office/drawing/2014/main" id="{AF38F0B2-F256-2BC5-D295-656757CE09A4}"/>
              </a:ext>
            </a:extLst>
          </p:cNvPr>
          <p:cNvCxnSpPr>
            <a:cxnSpLocks/>
          </p:cNvCxnSpPr>
          <p:nvPr/>
        </p:nvCxnSpPr>
        <p:spPr>
          <a:xfrm flipH="1" flipV="1">
            <a:off x="3126471" y="4631857"/>
            <a:ext cx="4835508" cy="913939"/>
          </a:xfrm>
          <a:prstGeom prst="line">
            <a:avLst/>
          </a:prstGeom>
          <a:ln w="12700"/>
        </p:spPr>
        <p:style>
          <a:lnRef idx="1">
            <a:schemeClr val="dk1"/>
          </a:lnRef>
          <a:fillRef idx="0">
            <a:schemeClr val="dk1"/>
          </a:fillRef>
          <a:effectRef idx="0">
            <a:schemeClr val="dk1"/>
          </a:effectRef>
          <a:fontRef idx="minor">
            <a:schemeClr val="tx1"/>
          </a:fontRef>
        </p:style>
      </p:cxnSp>
      <p:sp>
        <p:nvSpPr>
          <p:cNvPr id="47" name="CaixaDeTexto 46">
            <a:extLst>
              <a:ext uri="{FF2B5EF4-FFF2-40B4-BE49-F238E27FC236}">
                <a16:creationId xmlns:a16="http://schemas.microsoft.com/office/drawing/2014/main" id="{AB296AC6-B139-4E8E-0647-6BEE01D88811}"/>
              </a:ext>
            </a:extLst>
          </p:cNvPr>
          <p:cNvSpPr txBox="1"/>
          <p:nvPr/>
        </p:nvSpPr>
        <p:spPr>
          <a:xfrm>
            <a:off x="8253353" y="6519446"/>
            <a:ext cx="1834543" cy="338554"/>
          </a:xfrm>
          <a:prstGeom prst="rect">
            <a:avLst/>
          </a:prstGeom>
          <a:noFill/>
        </p:spPr>
        <p:txBody>
          <a:bodyPr wrap="square" rtlCol="0">
            <a:spAutoFit/>
          </a:bodyPr>
          <a:lstStyle/>
          <a:p>
            <a:r>
              <a:rPr lang="pt-BR" sz="1600" dirty="0" err="1">
                <a:solidFill>
                  <a:schemeClr val="bg1"/>
                </a:solidFill>
              </a:rPr>
              <a:t>Shaft</a:t>
            </a:r>
            <a:r>
              <a:rPr lang="pt-BR" sz="1600" dirty="0">
                <a:solidFill>
                  <a:schemeClr val="bg1"/>
                </a:solidFill>
              </a:rPr>
              <a:t> Power Meter</a:t>
            </a:r>
          </a:p>
        </p:txBody>
      </p:sp>
      <p:pic>
        <p:nvPicPr>
          <p:cNvPr id="50" name="Imagem 49">
            <a:extLst>
              <a:ext uri="{FF2B5EF4-FFF2-40B4-BE49-F238E27FC236}">
                <a16:creationId xmlns:a16="http://schemas.microsoft.com/office/drawing/2014/main" id="{34B97033-7323-A7A3-9F48-E0FAEA0D7AAE}"/>
              </a:ext>
            </a:extLst>
          </p:cNvPr>
          <p:cNvPicPr>
            <a:picLocks noChangeAspect="1"/>
          </p:cNvPicPr>
          <p:nvPr/>
        </p:nvPicPr>
        <p:blipFill>
          <a:blip r:embed="rId20" cstate="screen">
            <a:extLst>
              <a:ext uri="{28A0092B-C50C-407E-A947-70E740481C1C}">
                <a14:useLocalDpi xmlns:a14="http://schemas.microsoft.com/office/drawing/2010/main"/>
              </a:ext>
            </a:extLst>
          </a:blip>
          <a:srcRect l="17765" r="22947"/>
          <a:stretch>
            <a:fillRect/>
          </a:stretch>
        </p:blipFill>
        <p:spPr>
          <a:xfrm>
            <a:off x="3053753" y="5352681"/>
            <a:ext cx="1404265" cy="1375614"/>
          </a:xfrm>
          <a:prstGeom prst="ellipse">
            <a:avLst/>
          </a:prstGeom>
          <a:ln w="12700" cap="rnd">
            <a:solidFill>
              <a:srgbClr val="000000"/>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51" name="CaixaDeTexto 50">
            <a:extLst>
              <a:ext uri="{FF2B5EF4-FFF2-40B4-BE49-F238E27FC236}">
                <a16:creationId xmlns:a16="http://schemas.microsoft.com/office/drawing/2014/main" id="{DCFDDED5-6E03-C9CB-AE7F-0194C40C7877}"/>
              </a:ext>
            </a:extLst>
          </p:cNvPr>
          <p:cNvSpPr txBox="1"/>
          <p:nvPr/>
        </p:nvSpPr>
        <p:spPr>
          <a:xfrm>
            <a:off x="4485911" y="6182583"/>
            <a:ext cx="1636684" cy="584775"/>
          </a:xfrm>
          <a:prstGeom prst="rect">
            <a:avLst/>
          </a:prstGeom>
          <a:noFill/>
        </p:spPr>
        <p:txBody>
          <a:bodyPr wrap="square" rtlCol="0">
            <a:spAutoFit/>
          </a:bodyPr>
          <a:lstStyle/>
          <a:p>
            <a:r>
              <a:rPr lang="pt-BR" sz="1600" dirty="0" err="1">
                <a:solidFill>
                  <a:schemeClr val="bg1"/>
                </a:solidFill>
              </a:rPr>
              <a:t>Anti-foulling</a:t>
            </a:r>
            <a:r>
              <a:rPr lang="pt-BR" sz="1600" dirty="0">
                <a:solidFill>
                  <a:schemeClr val="bg1"/>
                </a:solidFill>
              </a:rPr>
              <a:t> system</a:t>
            </a:r>
          </a:p>
        </p:txBody>
      </p:sp>
      <p:sp>
        <p:nvSpPr>
          <p:cNvPr id="52" name="Elipse 51">
            <a:extLst>
              <a:ext uri="{FF2B5EF4-FFF2-40B4-BE49-F238E27FC236}">
                <a16:creationId xmlns:a16="http://schemas.microsoft.com/office/drawing/2014/main" id="{E2BA13DC-C6A2-19A1-D3F5-72E85742AB91}"/>
              </a:ext>
            </a:extLst>
          </p:cNvPr>
          <p:cNvSpPr/>
          <p:nvPr/>
        </p:nvSpPr>
        <p:spPr>
          <a:xfrm>
            <a:off x="11837600" y="6527390"/>
            <a:ext cx="398310" cy="398207"/>
          </a:xfrm>
          <a:prstGeom prst="ellipse">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800" b="1" dirty="0">
                <a:solidFill>
                  <a:schemeClr val="tx1"/>
                </a:solidFill>
              </a:rPr>
              <a:t>P</a:t>
            </a:r>
          </a:p>
        </p:txBody>
      </p:sp>
    </p:spTree>
    <p:extLst>
      <p:ext uri="{BB962C8B-B14F-4D97-AF65-F5344CB8AC3E}">
        <p14:creationId xmlns:p14="http://schemas.microsoft.com/office/powerpoint/2010/main" val="292593393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4E3A4B-BAA8-AEC0-457E-55C17B7BBEF8}"/>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3DB71242-BAA6-BF96-2BA4-5FD8DC1FFC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4" imgW="592" imgH="591" progId="TCLayout.ActiveDocument.1">
                  <p:embed/>
                </p:oleObj>
              </mc:Choice>
              <mc:Fallback>
                <p:oleObj name="Slide do think-cell" r:id="rId4" imgW="592" imgH="591" progId="TCLayout.ActiveDocument.1">
                  <p:embed/>
                  <p:pic>
                    <p:nvPicPr>
                      <p:cNvPr id="18" name="think-cell data - do not delete" hidden="1">
                        <a:extLst>
                          <a:ext uri="{FF2B5EF4-FFF2-40B4-BE49-F238E27FC236}">
                            <a16:creationId xmlns:a16="http://schemas.microsoft.com/office/drawing/2014/main" id="{3DB71242-BAA6-BF96-2BA4-5FD8DC1FFC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4" name="Gráfico 23">
            <a:extLst>
              <a:ext uri="{FF2B5EF4-FFF2-40B4-BE49-F238E27FC236}">
                <a16:creationId xmlns:a16="http://schemas.microsoft.com/office/drawing/2014/main" id="{2E29C2A2-05A7-06EE-653C-DF830D147EA7}"/>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0" y="0"/>
            <a:ext cx="12192000" cy="6858000"/>
          </a:xfrm>
          <a:prstGeom prst="rect">
            <a:avLst/>
          </a:prstGeom>
        </p:spPr>
      </p:pic>
      <p:grpSp>
        <p:nvGrpSpPr>
          <p:cNvPr id="31" name="Agrupar 30">
            <a:extLst>
              <a:ext uri="{FF2B5EF4-FFF2-40B4-BE49-F238E27FC236}">
                <a16:creationId xmlns:a16="http://schemas.microsoft.com/office/drawing/2014/main" id="{11A41AD4-E4D7-BD75-D23C-CF1BA6029648}"/>
              </a:ext>
            </a:extLst>
          </p:cNvPr>
          <p:cNvGrpSpPr/>
          <p:nvPr/>
        </p:nvGrpSpPr>
        <p:grpSpPr>
          <a:xfrm>
            <a:off x="0" y="0"/>
            <a:ext cx="12192000" cy="6556877"/>
            <a:chOff x="0" y="0"/>
            <a:chExt cx="12192000" cy="6556877"/>
          </a:xfrm>
        </p:grpSpPr>
        <p:pic>
          <p:nvPicPr>
            <p:cNvPr id="26" name="Gráfico 25">
              <a:extLst>
                <a:ext uri="{FF2B5EF4-FFF2-40B4-BE49-F238E27FC236}">
                  <a16:creationId xmlns:a16="http://schemas.microsoft.com/office/drawing/2014/main" id="{D1C26372-A227-F933-DA52-74CD106766DB}"/>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0" y="4839694"/>
              <a:ext cx="12192000" cy="1717183"/>
            </a:xfrm>
            <a:prstGeom prst="rect">
              <a:avLst/>
            </a:prstGeom>
          </p:spPr>
        </p:pic>
        <p:sp>
          <p:nvSpPr>
            <p:cNvPr id="30" name="Retângulo 29">
              <a:extLst>
                <a:ext uri="{FF2B5EF4-FFF2-40B4-BE49-F238E27FC236}">
                  <a16:creationId xmlns:a16="http://schemas.microsoft.com/office/drawing/2014/main" id="{015B193F-4AAD-E1B5-9DC9-BA78F7AC17EE}"/>
                </a:ext>
              </a:extLst>
            </p:cNvPr>
            <p:cNvSpPr/>
            <p:nvPr/>
          </p:nvSpPr>
          <p:spPr>
            <a:xfrm>
              <a:off x="0" y="0"/>
              <a:ext cx="12192000" cy="519611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sp>
        <p:nvSpPr>
          <p:cNvPr id="15" name="Retângulo 14">
            <a:extLst>
              <a:ext uri="{FF2B5EF4-FFF2-40B4-BE49-F238E27FC236}">
                <a16:creationId xmlns:a16="http://schemas.microsoft.com/office/drawing/2014/main" id="{4DF70CD1-D99E-50F1-1BCF-23B238BB093B}"/>
              </a:ext>
            </a:extLst>
          </p:cNvPr>
          <p:cNvSpPr>
            <a:spLocks noGrp="1" noRot="1" noMove="1" noResize="1" noEditPoints="1" noAdjustHandles="1" noChangeArrowheads="1" noChangeShapeType="1"/>
          </p:cNvSpPr>
          <p:nvPr/>
        </p:nvSpPr>
        <p:spPr>
          <a:xfrm>
            <a:off x="9418836" y="0"/>
            <a:ext cx="2773163" cy="99670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48" name="CaixaDeTexto 47">
            <a:extLst>
              <a:ext uri="{FF2B5EF4-FFF2-40B4-BE49-F238E27FC236}">
                <a16:creationId xmlns:a16="http://schemas.microsoft.com/office/drawing/2014/main" id="{909F05C1-A77D-2835-E8F8-02F06F5B883D}"/>
              </a:ext>
            </a:extLst>
          </p:cNvPr>
          <p:cNvSpPr txBox="1"/>
          <p:nvPr/>
        </p:nvSpPr>
        <p:spPr>
          <a:xfrm>
            <a:off x="336895" y="343109"/>
            <a:ext cx="9091711" cy="461665"/>
          </a:xfrm>
          <a:prstGeom prst="rect">
            <a:avLst/>
          </a:prstGeom>
          <a:noFill/>
        </p:spPr>
        <p:txBody>
          <a:bodyPr wrap="square">
            <a:spAutoFit/>
          </a:bodyPr>
          <a:lstStyle/>
          <a:p>
            <a:pPr lvl="0" defTabSz="1218832">
              <a:defRPr/>
            </a:pPr>
            <a:r>
              <a:rPr lang="en-US" sz="2400" b="1" dirty="0">
                <a:solidFill>
                  <a:srgbClr val="008542"/>
                </a:solidFill>
                <a:latin typeface="Trebuchet MS" panose="020B0703020202090204" pitchFamily="34" charset="0"/>
              </a:rPr>
              <a:t>TRANSPETRO - NEWBUILDINGS</a:t>
            </a:r>
          </a:p>
        </p:txBody>
      </p:sp>
      <p:sp>
        <p:nvSpPr>
          <p:cNvPr id="49" name="Retângulo 48">
            <a:extLst>
              <a:ext uri="{FF2B5EF4-FFF2-40B4-BE49-F238E27FC236}">
                <a16:creationId xmlns:a16="http://schemas.microsoft.com/office/drawing/2014/main" id="{63DF1601-B082-B78C-A297-20FEB056EC39}"/>
              </a:ext>
            </a:extLst>
          </p:cNvPr>
          <p:cNvSpPr/>
          <p:nvPr/>
        </p:nvSpPr>
        <p:spPr>
          <a:xfrm>
            <a:off x="419378" y="848159"/>
            <a:ext cx="420421" cy="41563"/>
          </a:xfrm>
          <a:prstGeom prst="rect">
            <a:avLst/>
          </a:prstGeom>
          <a:solidFill>
            <a:srgbClr val="FDC6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Trebuchet MS" panose="020B0703020202090204" pitchFamily="34" charset="0"/>
              <a:ea typeface="+mn-ea"/>
              <a:cs typeface="+mn-cs"/>
            </a:endParaRPr>
          </a:p>
        </p:txBody>
      </p:sp>
      <p:grpSp>
        <p:nvGrpSpPr>
          <p:cNvPr id="8" name="Agrupar 7">
            <a:extLst>
              <a:ext uri="{FF2B5EF4-FFF2-40B4-BE49-F238E27FC236}">
                <a16:creationId xmlns:a16="http://schemas.microsoft.com/office/drawing/2014/main" id="{F5833C14-12CB-500C-69BB-981ACC713898}"/>
              </a:ext>
            </a:extLst>
          </p:cNvPr>
          <p:cNvGrpSpPr/>
          <p:nvPr/>
        </p:nvGrpSpPr>
        <p:grpSpPr>
          <a:xfrm>
            <a:off x="9920871" y="396837"/>
            <a:ext cx="1774444" cy="322756"/>
            <a:chOff x="16766445" y="10371568"/>
            <a:chExt cx="2926190" cy="532249"/>
          </a:xfrm>
        </p:grpSpPr>
        <p:sp>
          <p:nvSpPr>
            <p:cNvPr id="11" name="object 115">
              <a:extLst>
                <a:ext uri="{FF2B5EF4-FFF2-40B4-BE49-F238E27FC236}">
                  <a16:creationId xmlns:a16="http://schemas.microsoft.com/office/drawing/2014/main" id="{0CDF94F4-EEFE-1257-32DD-1A0F89E291E8}"/>
                </a:ext>
              </a:extLst>
            </p:cNvPr>
            <p:cNvSpPr/>
            <p:nvPr/>
          </p:nvSpPr>
          <p:spPr>
            <a:xfrm>
              <a:off x="16766555" y="10561552"/>
              <a:ext cx="2926080" cy="342265"/>
            </a:xfrm>
            <a:custGeom>
              <a:avLst/>
              <a:gdLst/>
              <a:ahLst/>
              <a:cxnLst/>
              <a:rect l="l" t="t" r="r" b="b"/>
              <a:pathLst>
                <a:path w="2926080" h="342265">
                  <a:moveTo>
                    <a:pt x="846424" y="57034"/>
                  </a:moveTo>
                  <a:lnTo>
                    <a:pt x="781588" y="57034"/>
                  </a:lnTo>
                  <a:lnTo>
                    <a:pt x="740490" y="202192"/>
                  </a:lnTo>
                  <a:lnTo>
                    <a:pt x="804970" y="202192"/>
                  </a:lnTo>
                  <a:lnTo>
                    <a:pt x="846424" y="57034"/>
                  </a:lnTo>
                  <a:close/>
                </a:path>
                <a:path w="2926080" h="342265">
                  <a:moveTo>
                    <a:pt x="911637" y="176350"/>
                  </a:moveTo>
                  <a:lnTo>
                    <a:pt x="904537" y="202192"/>
                  </a:lnTo>
                  <a:lnTo>
                    <a:pt x="911637" y="202192"/>
                  </a:lnTo>
                  <a:lnTo>
                    <a:pt x="911637" y="176350"/>
                  </a:lnTo>
                  <a:close/>
                </a:path>
                <a:path w="2926080" h="342265">
                  <a:moveTo>
                    <a:pt x="1032073" y="5266"/>
                  </a:moveTo>
                  <a:lnTo>
                    <a:pt x="960494" y="5266"/>
                  </a:lnTo>
                  <a:lnTo>
                    <a:pt x="911637" y="176350"/>
                  </a:lnTo>
                  <a:lnTo>
                    <a:pt x="911637" y="202192"/>
                  </a:lnTo>
                  <a:lnTo>
                    <a:pt x="969017" y="202192"/>
                  </a:lnTo>
                  <a:lnTo>
                    <a:pt x="988462" y="133535"/>
                  </a:lnTo>
                  <a:lnTo>
                    <a:pt x="1032073" y="133535"/>
                  </a:lnTo>
                  <a:lnTo>
                    <a:pt x="1032073" y="90300"/>
                  </a:lnTo>
                  <a:lnTo>
                    <a:pt x="1000880" y="90300"/>
                  </a:lnTo>
                  <a:lnTo>
                    <a:pt x="1011854" y="50961"/>
                  </a:lnTo>
                  <a:lnTo>
                    <a:pt x="1032073" y="50961"/>
                  </a:lnTo>
                  <a:lnTo>
                    <a:pt x="1032073" y="5266"/>
                  </a:lnTo>
                  <a:close/>
                </a:path>
                <a:path w="2926080" h="342265">
                  <a:moveTo>
                    <a:pt x="1032073" y="171439"/>
                  </a:moveTo>
                  <a:lnTo>
                    <a:pt x="1029341" y="182273"/>
                  </a:lnTo>
                  <a:lnTo>
                    <a:pt x="1027494" y="191214"/>
                  </a:lnTo>
                  <a:lnTo>
                    <a:pt x="1026516" y="197956"/>
                  </a:lnTo>
                  <a:lnTo>
                    <a:pt x="1026387" y="202192"/>
                  </a:lnTo>
                  <a:lnTo>
                    <a:pt x="1032073" y="202192"/>
                  </a:lnTo>
                  <a:lnTo>
                    <a:pt x="1032073" y="171439"/>
                  </a:lnTo>
                  <a:close/>
                </a:path>
                <a:path w="2926080" h="342265">
                  <a:moveTo>
                    <a:pt x="1053643" y="5266"/>
                  </a:moveTo>
                  <a:lnTo>
                    <a:pt x="1032073" y="5266"/>
                  </a:lnTo>
                  <a:lnTo>
                    <a:pt x="1032073" y="50961"/>
                  </a:lnTo>
                  <a:lnTo>
                    <a:pt x="1041957" y="50961"/>
                  </a:lnTo>
                  <a:lnTo>
                    <a:pt x="1052136" y="52233"/>
                  </a:lnTo>
                  <a:lnTo>
                    <a:pt x="1059357" y="56065"/>
                  </a:lnTo>
                  <a:lnTo>
                    <a:pt x="1062931" y="62477"/>
                  </a:lnTo>
                  <a:lnTo>
                    <a:pt x="1062166" y="71495"/>
                  </a:lnTo>
                  <a:lnTo>
                    <a:pt x="1058448" y="79523"/>
                  </a:lnTo>
                  <a:lnTo>
                    <a:pt x="1052153" y="85158"/>
                  </a:lnTo>
                  <a:lnTo>
                    <a:pt x="1043342" y="88662"/>
                  </a:lnTo>
                  <a:lnTo>
                    <a:pt x="1032073" y="90300"/>
                  </a:lnTo>
                  <a:lnTo>
                    <a:pt x="1032073" y="138110"/>
                  </a:lnTo>
                  <a:lnTo>
                    <a:pt x="1035517" y="142655"/>
                  </a:lnTo>
                  <a:lnTo>
                    <a:pt x="1036578" y="148995"/>
                  </a:lnTo>
                  <a:lnTo>
                    <a:pt x="1035648" y="157338"/>
                  </a:lnTo>
                  <a:lnTo>
                    <a:pt x="1033120" y="167890"/>
                  </a:lnTo>
                  <a:lnTo>
                    <a:pt x="1032073" y="171439"/>
                  </a:lnTo>
                  <a:lnTo>
                    <a:pt x="1032073" y="202192"/>
                  </a:lnTo>
                  <a:lnTo>
                    <a:pt x="1091893" y="202192"/>
                  </a:lnTo>
                  <a:lnTo>
                    <a:pt x="1093673" y="196213"/>
                  </a:lnTo>
                  <a:lnTo>
                    <a:pt x="1089851" y="194484"/>
                  </a:lnTo>
                  <a:lnTo>
                    <a:pt x="1089574" y="188742"/>
                  </a:lnTo>
                  <a:lnTo>
                    <a:pt x="1092139" y="178155"/>
                  </a:lnTo>
                  <a:lnTo>
                    <a:pt x="1096846" y="161890"/>
                  </a:lnTo>
                  <a:lnTo>
                    <a:pt x="1101208" y="138020"/>
                  </a:lnTo>
                  <a:lnTo>
                    <a:pt x="1098638" y="123678"/>
                  </a:lnTo>
                  <a:lnTo>
                    <a:pt x="1090477" y="115329"/>
                  </a:lnTo>
                  <a:lnTo>
                    <a:pt x="1078071" y="109441"/>
                  </a:lnTo>
                  <a:lnTo>
                    <a:pt x="1094089" y="102911"/>
                  </a:lnTo>
                  <a:lnTo>
                    <a:pt x="1107053" y="92859"/>
                  </a:lnTo>
                  <a:lnTo>
                    <a:pt x="1116961" y="80026"/>
                  </a:lnTo>
                  <a:lnTo>
                    <a:pt x="1123808" y="65149"/>
                  </a:lnTo>
                  <a:lnTo>
                    <a:pt x="1123808" y="25465"/>
                  </a:lnTo>
                  <a:lnTo>
                    <a:pt x="1114887" y="16491"/>
                  </a:lnTo>
                  <a:lnTo>
                    <a:pt x="1100548" y="10194"/>
                  </a:lnTo>
                  <a:lnTo>
                    <a:pt x="1080298" y="6483"/>
                  </a:lnTo>
                  <a:lnTo>
                    <a:pt x="1053643" y="5266"/>
                  </a:lnTo>
                  <a:close/>
                </a:path>
                <a:path w="2926080" h="342265">
                  <a:moveTo>
                    <a:pt x="1123808" y="196213"/>
                  </a:moveTo>
                  <a:lnTo>
                    <a:pt x="1119882" y="202192"/>
                  </a:lnTo>
                  <a:lnTo>
                    <a:pt x="1123808" y="202192"/>
                  </a:lnTo>
                  <a:lnTo>
                    <a:pt x="1123808" y="196213"/>
                  </a:lnTo>
                  <a:close/>
                </a:path>
                <a:path w="2926080" h="342265">
                  <a:moveTo>
                    <a:pt x="1242443" y="11675"/>
                  </a:moveTo>
                  <a:lnTo>
                    <a:pt x="1123808" y="196213"/>
                  </a:lnTo>
                  <a:lnTo>
                    <a:pt x="1123808" y="202192"/>
                  </a:lnTo>
                  <a:lnTo>
                    <a:pt x="1183314" y="202192"/>
                  </a:lnTo>
                  <a:lnTo>
                    <a:pt x="1198172" y="176350"/>
                  </a:lnTo>
                  <a:lnTo>
                    <a:pt x="1242443" y="176350"/>
                  </a:lnTo>
                  <a:lnTo>
                    <a:pt x="1242443" y="135294"/>
                  </a:lnTo>
                  <a:lnTo>
                    <a:pt x="1221910" y="135294"/>
                  </a:lnTo>
                  <a:lnTo>
                    <a:pt x="1242443" y="99159"/>
                  </a:lnTo>
                  <a:lnTo>
                    <a:pt x="1242443" y="11675"/>
                  </a:lnTo>
                  <a:close/>
                </a:path>
                <a:path w="2926080" h="342265">
                  <a:moveTo>
                    <a:pt x="1316746" y="64458"/>
                  </a:moveTo>
                  <a:lnTo>
                    <a:pt x="1261940" y="64458"/>
                  </a:lnTo>
                  <a:lnTo>
                    <a:pt x="1262631" y="135294"/>
                  </a:lnTo>
                  <a:lnTo>
                    <a:pt x="1242443" y="135294"/>
                  </a:lnTo>
                  <a:lnTo>
                    <a:pt x="1242443" y="176350"/>
                  </a:lnTo>
                  <a:lnTo>
                    <a:pt x="1262296" y="176350"/>
                  </a:lnTo>
                  <a:lnTo>
                    <a:pt x="1262631" y="202192"/>
                  </a:lnTo>
                  <a:lnTo>
                    <a:pt x="1327153" y="202192"/>
                  </a:lnTo>
                  <a:lnTo>
                    <a:pt x="1316746" y="64458"/>
                  </a:lnTo>
                  <a:close/>
                </a:path>
                <a:path w="2926080" h="342265">
                  <a:moveTo>
                    <a:pt x="1032073" y="133535"/>
                  </a:moveTo>
                  <a:lnTo>
                    <a:pt x="1020356" y="133535"/>
                  </a:lnTo>
                  <a:lnTo>
                    <a:pt x="1027832" y="134938"/>
                  </a:lnTo>
                  <a:lnTo>
                    <a:pt x="1032073" y="138110"/>
                  </a:lnTo>
                  <a:lnTo>
                    <a:pt x="1032073" y="133535"/>
                  </a:lnTo>
                  <a:close/>
                </a:path>
                <a:path w="2926080" h="342265">
                  <a:moveTo>
                    <a:pt x="1312274" y="5266"/>
                  </a:moveTo>
                  <a:lnTo>
                    <a:pt x="1246695" y="5266"/>
                  </a:lnTo>
                  <a:lnTo>
                    <a:pt x="1242443" y="11675"/>
                  </a:lnTo>
                  <a:lnTo>
                    <a:pt x="1242443" y="99159"/>
                  </a:lnTo>
                  <a:lnTo>
                    <a:pt x="1261940" y="64458"/>
                  </a:lnTo>
                  <a:lnTo>
                    <a:pt x="1316746" y="64458"/>
                  </a:lnTo>
                  <a:lnTo>
                    <a:pt x="1312274" y="5266"/>
                  </a:lnTo>
                  <a:close/>
                </a:path>
                <a:path w="2926080" h="342265">
                  <a:moveTo>
                    <a:pt x="1123808" y="25465"/>
                  </a:moveTo>
                  <a:lnTo>
                    <a:pt x="1123808" y="65149"/>
                  </a:lnTo>
                  <a:lnTo>
                    <a:pt x="1124824" y="61254"/>
                  </a:lnTo>
                  <a:lnTo>
                    <a:pt x="1127276" y="50638"/>
                  </a:lnTo>
                  <a:lnTo>
                    <a:pt x="1128058" y="41113"/>
                  </a:lnTo>
                  <a:lnTo>
                    <a:pt x="1126969" y="32712"/>
                  </a:lnTo>
                  <a:lnTo>
                    <a:pt x="1123808" y="25465"/>
                  </a:lnTo>
                  <a:close/>
                </a:path>
                <a:path w="2926080" h="342265">
                  <a:moveTo>
                    <a:pt x="911637" y="5266"/>
                  </a:moveTo>
                  <a:lnTo>
                    <a:pt x="738354" y="5266"/>
                  </a:lnTo>
                  <a:lnTo>
                    <a:pt x="723517" y="57034"/>
                  </a:lnTo>
                  <a:lnTo>
                    <a:pt x="904537" y="57034"/>
                  </a:lnTo>
                  <a:lnTo>
                    <a:pt x="911637" y="31150"/>
                  </a:lnTo>
                  <a:lnTo>
                    <a:pt x="911637" y="5266"/>
                  </a:lnTo>
                  <a:close/>
                </a:path>
                <a:path w="2926080" h="342265">
                  <a:moveTo>
                    <a:pt x="919040" y="5266"/>
                  </a:moveTo>
                  <a:lnTo>
                    <a:pt x="911637" y="5266"/>
                  </a:lnTo>
                  <a:lnTo>
                    <a:pt x="911637" y="31150"/>
                  </a:lnTo>
                  <a:lnTo>
                    <a:pt x="919040" y="5266"/>
                  </a:lnTo>
                  <a:close/>
                </a:path>
                <a:path w="2926080" h="342265">
                  <a:moveTo>
                    <a:pt x="1678168" y="141660"/>
                  </a:moveTo>
                  <a:lnTo>
                    <a:pt x="1616526" y="141660"/>
                  </a:lnTo>
                  <a:lnTo>
                    <a:pt x="1616162" y="166898"/>
                  </a:lnTo>
                  <a:lnTo>
                    <a:pt x="1627883" y="187885"/>
                  </a:lnTo>
                  <a:lnTo>
                    <a:pt x="1651025" y="202230"/>
                  </a:lnTo>
                  <a:lnTo>
                    <a:pt x="1684922" y="207543"/>
                  </a:lnTo>
                  <a:lnTo>
                    <a:pt x="1723576" y="203340"/>
                  </a:lnTo>
                  <a:lnTo>
                    <a:pt x="1756382" y="190666"/>
                  </a:lnTo>
                  <a:lnTo>
                    <a:pt x="1781352" y="169430"/>
                  </a:lnTo>
                  <a:lnTo>
                    <a:pt x="1785014" y="162204"/>
                  </a:lnTo>
                  <a:lnTo>
                    <a:pt x="1695204" y="162204"/>
                  </a:lnTo>
                  <a:lnTo>
                    <a:pt x="1688786" y="160445"/>
                  </a:lnTo>
                  <a:lnTo>
                    <a:pt x="1684535" y="157230"/>
                  </a:lnTo>
                  <a:lnTo>
                    <a:pt x="1679959" y="153723"/>
                  </a:lnTo>
                  <a:lnTo>
                    <a:pt x="1677833" y="148749"/>
                  </a:lnTo>
                  <a:lnTo>
                    <a:pt x="1678168" y="141660"/>
                  </a:lnTo>
                  <a:close/>
                </a:path>
                <a:path w="2926080" h="342265">
                  <a:moveTo>
                    <a:pt x="1746575" y="0"/>
                  </a:moveTo>
                  <a:lnTo>
                    <a:pt x="1711326" y="3919"/>
                  </a:lnTo>
                  <a:lnTo>
                    <a:pt x="1680889" y="15702"/>
                  </a:lnTo>
                  <a:lnTo>
                    <a:pt x="1657433" y="35387"/>
                  </a:lnTo>
                  <a:lnTo>
                    <a:pt x="1643122" y="63013"/>
                  </a:lnTo>
                  <a:lnTo>
                    <a:pt x="1645061" y="97763"/>
                  </a:lnTo>
                  <a:lnTo>
                    <a:pt x="1667805" y="116579"/>
                  </a:lnTo>
                  <a:lnTo>
                    <a:pt x="1698502" y="126487"/>
                  </a:lnTo>
                  <a:lnTo>
                    <a:pt x="1724299" y="134513"/>
                  </a:lnTo>
                  <a:lnTo>
                    <a:pt x="1732345" y="147681"/>
                  </a:lnTo>
                  <a:lnTo>
                    <a:pt x="1728800" y="153837"/>
                  </a:lnTo>
                  <a:lnTo>
                    <a:pt x="1722156" y="158398"/>
                  </a:lnTo>
                  <a:lnTo>
                    <a:pt x="1712914" y="161231"/>
                  </a:lnTo>
                  <a:lnTo>
                    <a:pt x="1701571" y="162204"/>
                  </a:lnTo>
                  <a:lnTo>
                    <a:pt x="1785014" y="162204"/>
                  </a:lnTo>
                  <a:lnTo>
                    <a:pt x="1796500" y="139535"/>
                  </a:lnTo>
                  <a:lnTo>
                    <a:pt x="1789973" y="100529"/>
                  </a:lnTo>
                  <a:lnTo>
                    <a:pt x="1756214" y="82271"/>
                  </a:lnTo>
                  <a:lnTo>
                    <a:pt x="1720204" y="71914"/>
                  </a:lnTo>
                  <a:lnTo>
                    <a:pt x="1706921" y="56616"/>
                  </a:lnTo>
                  <a:lnTo>
                    <a:pt x="1709501" y="51864"/>
                  </a:lnTo>
                  <a:lnTo>
                    <a:pt x="1714227" y="48312"/>
                  </a:lnTo>
                  <a:lnTo>
                    <a:pt x="1721219" y="46087"/>
                  </a:lnTo>
                  <a:lnTo>
                    <a:pt x="1730596" y="45317"/>
                  </a:lnTo>
                  <a:lnTo>
                    <a:pt x="1812738" y="45317"/>
                  </a:lnTo>
                  <a:lnTo>
                    <a:pt x="1812563" y="38086"/>
                  </a:lnTo>
                  <a:lnTo>
                    <a:pt x="1802310" y="18274"/>
                  </a:lnTo>
                  <a:lnTo>
                    <a:pt x="1780832" y="4905"/>
                  </a:lnTo>
                  <a:lnTo>
                    <a:pt x="1746575" y="0"/>
                  </a:lnTo>
                  <a:close/>
                </a:path>
                <a:path w="2926080" h="342265">
                  <a:moveTo>
                    <a:pt x="1812738" y="45317"/>
                  </a:moveTo>
                  <a:lnTo>
                    <a:pt x="1737004" y="45317"/>
                  </a:lnTo>
                  <a:lnTo>
                    <a:pt x="1742292" y="46386"/>
                  </a:lnTo>
                  <a:lnTo>
                    <a:pt x="1750135" y="51338"/>
                  </a:lnTo>
                  <a:lnTo>
                    <a:pt x="1752574" y="55621"/>
                  </a:lnTo>
                  <a:lnTo>
                    <a:pt x="1751883" y="62322"/>
                  </a:lnTo>
                  <a:lnTo>
                    <a:pt x="1813148" y="62322"/>
                  </a:lnTo>
                  <a:lnTo>
                    <a:pt x="1812738" y="45317"/>
                  </a:lnTo>
                  <a:close/>
                </a:path>
                <a:path w="2926080" h="342265">
                  <a:moveTo>
                    <a:pt x="1481232" y="5266"/>
                  </a:moveTo>
                  <a:lnTo>
                    <a:pt x="1421035" y="5266"/>
                  </a:lnTo>
                  <a:lnTo>
                    <a:pt x="1365036" y="202192"/>
                  </a:lnTo>
                  <a:lnTo>
                    <a:pt x="1427014" y="202192"/>
                  </a:lnTo>
                  <a:lnTo>
                    <a:pt x="1444395" y="139911"/>
                  </a:lnTo>
                  <a:lnTo>
                    <a:pt x="1454678" y="94876"/>
                  </a:lnTo>
                  <a:lnTo>
                    <a:pt x="1514618" y="94876"/>
                  </a:lnTo>
                  <a:lnTo>
                    <a:pt x="1481232" y="5266"/>
                  </a:lnTo>
                  <a:close/>
                </a:path>
                <a:path w="2926080" h="342265">
                  <a:moveTo>
                    <a:pt x="1514618" y="94876"/>
                  </a:moveTo>
                  <a:lnTo>
                    <a:pt x="1454678" y="94876"/>
                  </a:lnTo>
                  <a:lnTo>
                    <a:pt x="1494666" y="202192"/>
                  </a:lnTo>
                  <a:lnTo>
                    <a:pt x="1555282" y="202192"/>
                  </a:lnTo>
                  <a:lnTo>
                    <a:pt x="1580728" y="112624"/>
                  </a:lnTo>
                  <a:lnTo>
                    <a:pt x="1521231" y="112624"/>
                  </a:lnTo>
                  <a:lnTo>
                    <a:pt x="1514618" y="94876"/>
                  </a:lnTo>
                  <a:close/>
                </a:path>
                <a:path w="2926080" h="342265">
                  <a:moveTo>
                    <a:pt x="1611228" y="5266"/>
                  </a:moveTo>
                  <a:lnTo>
                    <a:pt x="1549251" y="5266"/>
                  </a:lnTo>
                  <a:lnTo>
                    <a:pt x="1531555" y="67987"/>
                  </a:lnTo>
                  <a:lnTo>
                    <a:pt x="1521231" y="112624"/>
                  </a:lnTo>
                  <a:lnTo>
                    <a:pt x="1580728" y="112624"/>
                  </a:lnTo>
                  <a:lnTo>
                    <a:pt x="1611228" y="5266"/>
                  </a:lnTo>
                  <a:close/>
                </a:path>
                <a:path w="2926080" h="342265">
                  <a:moveTo>
                    <a:pt x="1944935" y="5266"/>
                  </a:moveTo>
                  <a:lnTo>
                    <a:pt x="1875503" y="5266"/>
                  </a:lnTo>
                  <a:lnTo>
                    <a:pt x="1819546" y="202192"/>
                  </a:lnTo>
                  <a:lnTo>
                    <a:pt x="1884340" y="202192"/>
                  </a:lnTo>
                  <a:lnTo>
                    <a:pt x="1901722" y="140980"/>
                  </a:lnTo>
                  <a:lnTo>
                    <a:pt x="1941385" y="140980"/>
                  </a:lnTo>
                  <a:lnTo>
                    <a:pt x="1944935" y="140634"/>
                  </a:lnTo>
                  <a:lnTo>
                    <a:pt x="1944935" y="94876"/>
                  </a:lnTo>
                  <a:lnTo>
                    <a:pt x="1914800" y="94876"/>
                  </a:lnTo>
                  <a:lnTo>
                    <a:pt x="1927218" y="50961"/>
                  </a:lnTo>
                  <a:lnTo>
                    <a:pt x="1944935" y="50961"/>
                  </a:lnTo>
                  <a:lnTo>
                    <a:pt x="1944935" y="5266"/>
                  </a:lnTo>
                  <a:close/>
                </a:path>
                <a:path w="2926080" h="342265">
                  <a:moveTo>
                    <a:pt x="1970756" y="5266"/>
                  </a:moveTo>
                  <a:lnTo>
                    <a:pt x="1944935" y="5266"/>
                  </a:lnTo>
                  <a:lnTo>
                    <a:pt x="1944935" y="50961"/>
                  </a:lnTo>
                  <a:lnTo>
                    <a:pt x="1945626" y="50961"/>
                  </a:lnTo>
                  <a:lnTo>
                    <a:pt x="1956634" y="51643"/>
                  </a:lnTo>
                  <a:lnTo>
                    <a:pt x="1967014" y="54521"/>
                  </a:lnTo>
                  <a:lnTo>
                    <a:pt x="1973878" y="60847"/>
                  </a:lnTo>
                  <a:lnTo>
                    <a:pt x="1974337" y="71872"/>
                  </a:lnTo>
                  <a:lnTo>
                    <a:pt x="1969699" y="82094"/>
                  </a:lnTo>
                  <a:lnTo>
                    <a:pt x="1962966" y="89087"/>
                  </a:lnTo>
                  <a:lnTo>
                    <a:pt x="1954568" y="93224"/>
                  </a:lnTo>
                  <a:lnTo>
                    <a:pt x="1944935" y="94876"/>
                  </a:lnTo>
                  <a:lnTo>
                    <a:pt x="1944935" y="140634"/>
                  </a:lnTo>
                  <a:lnTo>
                    <a:pt x="2005067" y="119882"/>
                  </a:lnTo>
                  <a:lnTo>
                    <a:pt x="2035969" y="71495"/>
                  </a:lnTo>
                  <a:lnTo>
                    <a:pt x="2038543" y="44126"/>
                  </a:lnTo>
                  <a:lnTo>
                    <a:pt x="2028885" y="23251"/>
                  </a:lnTo>
                  <a:lnTo>
                    <a:pt x="2006467" y="9941"/>
                  </a:lnTo>
                  <a:lnTo>
                    <a:pt x="1970756" y="5266"/>
                  </a:lnTo>
                  <a:close/>
                </a:path>
                <a:path w="2926080" h="342265">
                  <a:moveTo>
                    <a:pt x="2255606" y="5266"/>
                  </a:moveTo>
                  <a:lnTo>
                    <a:pt x="2094773" y="5266"/>
                  </a:lnTo>
                  <a:lnTo>
                    <a:pt x="2038817" y="202192"/>
                  </a:lnTo>
                  <a:lnTo>
                    <a:pt x="2203524" y="202192"/>
                  </a:lnTo>
                  <a:lnTo>
                    <a:pt x="2216655" y="156204"/>
                  </a:lnTo>
                  <a:lnTo>
                    <a:pt x="2116375" y="156204"/>
                  </a:lnTo>
                  <a:lnTo>
                    <a:pt x="2125233" y="125388"/>
                  </a:lnTo>
                  <a:lnTo>
                    <a:pt x="2206707" y="125388"/>
                  </a:lnTo>
                  <a:lnTo>
                    <a:pt x="2219827" y="79337"/>
                  </a:lnTo>
                  <a:lnTo>
                    <a:pt x="2138353" y="79337"/>
                  </a:lnTo>
                  <a:lnTo>
                    <a:pt x="2146489" y="50961"/>
                  </a:lnTo>
                  <a:lnTo>
                    <a:pt x="2242518" y="50961"/>
                  </a:lnTo>
                  <a:lnTo>
                    <a:pt x="2255606" y="5266"/>
                  </a:lnTo>
                  <a:close/>
                </a:path>
                <a:path w="2926080" h="342265">
                  <a:moveTo>
                    <a:pt x="2404408" y="57034"/>
                  </a:moveTo>
                  <a:lnTo>
                    <a:pt x="2339530" y="57034"/>
                  </a:lnTo>
                  <a:lnTo>
                    <a:pt x="2298453" y="202192"/>
                  </a:lnTo>
                  <a:lnTo>
                    <a:pt x="2362943" y="202192"/>
                  </a:lnTo>
                  <a:lnTo>
                    <a:pt x="2404408" y="57034"/>
                  </a:lnTo>
                  <a:close/>
                </a:path>
                <a:path w="2926080" h="342265">
                  <a:moveTo>
                    <a:pt x="2469893" y="176350"/>
                  </a:moveTo>
                  <a:lnTo>
                    <a:pt x="2462500" y="202192"/>
                  </a:lnTo>
                  <a:lnTo>
                    <a:pt x="2469893" y="202192"/>
                  </a:lnTo>
                  <a:lnTo>
                    <a:pt x="2469893" y="176350"/>
                  </a:lnTo>
                  <a:close/>
                </a:path>
                <a:path w="2926080" h="342265">
                  <a:moveTo>
                    <a:pt x="2590004" y="5266"/>
                  </a:moveTo>
                  <a:lnTo>
                    <a:pt x="2518436" y="5266"/>
                  </a:lnTo>
                  <a:lnTo>
                    <a:pt x="2469893" y="176350"/>
                  </a:lnTo>
                  <a:lnTo>
                    <a:pt x="2469893" y="202192"/>
                  </a:lnTo>
                  <a:lnTo>
                    <a:pt x="2526959" y="202192"/>
                  </a:lnTo>
                  <a:lnTo>
                    <a:pt x="2546833" y="133535"/>
                  </a:lnTo>
                  <a:lnTo>
                    <a:pt x="2590004" y="133535"/>
                  </a:lnTo>
                  <a:lnTo>
                    <a:pt x="2590004" y="90300"/>
                  </a:lnTo>
                  <a:lnTo>
                    <a:pt x="2558812" y="90300"/>
                  </a:lnTo>
                  <a:lnTo>
                    <a:pt x="2570193" y="50961"/>
                  </a:lnTo>
                  <a:lnTo>
                    <a:pt x="2590004" y="50961"/>
                  </a:lnTo>
                  <a:lnTo>
                    <a:pt x="2590004" y="5266"/>
                  </a:lnTo>
                  <a:close/>
                </a:path>
                <a:path w="2926080" h="342265">
                  <a:moveTo>
                    <a:pt x="2590004" y="171439"/>
                  </a:moveTo>
                  <a:lnTo>
                    <a:pt x="2587335" y="182273"/>
                  </a:lnTo>
                  <a:lnTo>
                    <a:pt x="2585621" y="191214"/>
                  </a:lnTo>
                  <a:lnTo>
                    <a:pt x="2584761" y="197956"/>
                  </a:lnTo>
                  <a:lnTo>
                    <a:pt x="2584654" y="202192"/>
                  </a:lnTo>
                  <a:lnTo>
                    <a:pt x="2590004" y="202192"/>
                  </a:lnTo>
                  <a:lnTo>
                    <a:pt x="2590004" y="171439"/>
                  </a:lnTo>
                  <a:close/>
                </a:path>
                <a:path w="2926080" h="342265">
                  <a:moveTo>
                    <a:pt x="2611606" y="5266"/>
                  </a:moveTo>
                  <a:lnTo>
                    <a:pt x="2590004" y="5266"/>
                  </a:lnTo>
                  <a:lnTo>
                    <a:pt x="2590004" y="50961"/>
                  </a:lnTo>
                  <a:lnTo>
                    <a:pt x="2600287" y="50961"/>
                  </a:lnTo>
                  <a:lnTo>
                    <a:pt x="2610264" y="52233"/>
                  </a:lnTo>
                  <a:lnTo>
                    <a:pt x="2617424" y="56065"/>
                  </a:lnTo>
                  <a:lnTo>
                    <a:pt x="2621059" y="62477"/>
                  </a:lnTo>
                  <a:lnTo>
                    <a:pt x="2620464" y="71495"/>
                  </a:lnTo>
                  <a:lnTo>
                    <a:pt x="2616546" y="79523"/>
                  </a:lnTo>
                  <a:lnTo>
                    <a:pt x="2610139" y="85158"/>
                  </a:lnTo>
                  <a:lnTo>
                    <a:pt x="2601279" y="88662"/>
                  </a:lnTo>
                  <a:lnTo>
                    <a:pt x="2590004" y="90300"/>
                  </a:lnTo>
                  <a:lnTo>
                    <a:pt x="2590004" y="138110"/>
                  </a:lnTo>
                  <a:lnTo>
                    <a:pt x="2593657" y="142655"/>
                  </a:lnTo>
                  <a:lnTo>
                    <a:pt x="2594791" y="148995"/>
                  </a:lnTo>
                  <a:lnTo>
                    <a:pt x="2593799" y="157338"/>
                  </a:lnTo>
                  <a:lnTo>
                    <a:pt x="2591072" y="167890"/>
                  </a:lnTo>
                  <a:lnTo>
                    <a:pt x="2590004" y="171439"/>
                  </a:lnTo>
                  <a:lnTo>
                    <a:pt x="2590004" y="202192"/>
                  </a:lnTo>
                  <a:lnTo>
                    <a:pt x="2650243" y="202192"/>
                  </a:lnTo>
                  <a:lnTo>
                    <a:pt x="2651667" y="196213"/>
                  </a:lnTo>
                  <a:lnTo>
                    <a:pt x="2647966" y="194484"/>
                  </a:lnTo>
                  <a:lnTo>
                    <a:pt x="2647661" y="188742"/>
                  </a:lnTo>
                  <a:lnTo>
                    <a:pt x="2650158" y="178155"/>
                  </a:lnTo>
                  <a:lnTo>
                    <a:pt x="2654861" y="161890"/>
                  </a:lnTo>
                  <a:lnTo>
                    <a:pt x="2659330" y="138020"/>
                  </a:lnTo>
                  <a:lnTo>
                    <a:pt x="2656746" y="123678"/>
                  </a:lnTo>
                  <a:lnTo>
                    <a:pt x="2648524" y="115329"/>
                  </a:lnTo>
                  <a:lnTo>
                    <a:pt x="2636076" y="109441"/>
                  </a:lnTo>
                  <a:lnTo>
                    <a:pt x="2652933" y="102395"/>
                  </a:lnTo>
                  <a:lnTo>
                    <a:pt x="2666382" y="91442"/>
                  </a:lnTo>
                  <a:lnTo>
                    <a:pt x="2676457" y="77442"/>
                  </a:lnTo>
                  <a:lnTo>
                    <a:pt x="2683195" y="61254"/>
                  </a:lnTo>
                  <a:lnTo>
                    <a:pt x="2685751" y="36360"/>
                  </a:lnTo>
                  <a:lnTo>
                    <a:pt x="2676096" y="18909"/>
                  </a:lnTo>
                  <a:lnTo>
                    <a:pt x="2652094" y="8633"/>
                  </a:lnTo>
                  <a:lnTo>
                    <a:pt x="2611606" y="5266"/>
                  </a:lnTo>
                  <a:close/>
                </a:path>
                <a:path w="2926080" h="342265">
                  <a:moveTo>
                    <a:pt x="2590004" y="133535"/>
                  </a:moveTo>
                  <a:lnTo>
                    <a:pt x="2578361" y="133535"/>
                  </a:lnTo>
                  <a:lnTo>
                    <a:pt x="2585764" y="134938"/>
                  </a:lnTo>
                  <a:lnTo>
                    <a:pt x="2590004" y="138110"/>
                  </a:lnTo>
                  <a:lnTo>
                    <a:pt x="2590004" y="133535"/>
                  </a:lnTo>
                  <a:close/>
                </a:path>
                <a:path w="2926080" h="342265">
                  <a:moveTo>
                    <a:pt x="2469893" y="5266"/>
                  </a:moveTo>
                  <a:lnTo>
                    <a:pt x="2296348" y="5266"/>
                  </a:lnTo>
                  <a:lnTo>
                    <a:pt x="2281469" y="57034"/>
                  </a:lnTo>
                  <a:lnTo>
                    <a:pt x="2462500" y="57034"/>
                  </a:lnTo>
                  <a:lnTo>
                    <a:pt x="2469893" y="31150"/>
                  </a:lnTo>
                  <a:lnTo>
                    <a:pt x="2469893" y="5266"/>
                  </a:lnTo>
                  <a:close/>
                </a:path>
                <a:path w="2926080" h="342265">
                  <a:moveTo>
                    <a:pt x="2476961" y="5266"/>
                  </a:moveTo>
                  <a:lnTo>
                    <a:pt x="2469893" y="5266"/>
                  </a:lnTo>
                  <a:lnTo>
                    <a:pt x="2469893" y="31150"/>
                  </a:lnTo>
                  <a:lnTo>
                    <a:pt x="2476961" y="5266"/>
                  </a:lnTo>
                  <a:close/>
                </a:path>
                <a:path w="2926080" h="342265">
                  <a:moveTo>
                    <a:pt x="2817066" y="3172"/>
                  </a:moveTo>
                  <a:lnTo>
                    <a:pt x="2752917" y="37193"/>
                  </a:lnTo>
                  <a:lnTo>
                    <a:pt x="2714032" y="102007"/>
                  </a:lnTo>
                  <a:lnTo>
                    <a:pt x="2708867" y="146888"/>
                  </a:lnTo>
                  <a:lnTo>
                    <a:pt x="2720489" y="180011"/>
                  </a:lnTo>
                  <a:lnTo>
                    <a:pt x="2747214" y="200516"/>
                  </a:lnTo>
                  <a:lnTo>
                    <a:pt x="2787360" y="207543"/>
                  </a:lnTo>
                  <a:lnTo>
                    <a:pt x="2794986" y="207348"/>
                  </a:lnTo>
                  <a:lnTo>
                    <a:pt x="2802468" y="206756"/>
                  </a:lnTo>
                  <a:lnTo>
                    <a:pt x="2809822" y="205754"/>
                  </a:lnTo>
                  <a:lnTo>
                    <a:pt x="2817066" y="204328"/>
                  </a:lnTo>
                  <a:lnTo>
                    <a:pt x="2817066" y="159377"/>
                  </a:lnTo>
                  <a:lnTo>
                    <a:pt x="2801129" y="159377"/>
                  </a:lnTo>
                  <a:lnTo>
                    <a:pt x="2783592" y="154055"/>
                  </a:lnTo>
                  <a:lnTo>
                    <a:pt x="2775597" y="140464"/>
                  </a:lnTo>
                  <a:lnTo>
                    <a:pt x="2774711" y="122165"/>
                  </a:lnTo>
                  <a:lnTo>
                    <a:pt x="2778501" y="102719"/>
                  </a:lnTo>
                  <a:lnTo>
                    <a:pt x="2784218" y="87243"/>
                  </a:lnTo>
                  <a:lnTo>
                    <a:pt x="2792467" y="72309"/>
                  </a:lnTo>
                  <a:lnTo>
                    <a:pt x="2803374" y="59640"/>
                  </a:lnTo>
                  <a:lnTo>
                    <a:pt x="2817066" y="50961"/>
                  </a:lnTo>
                  <a:lnTo>
                    <a:pt x="2817066" y="3172"/>
                  </a:lnTo>
                  <a:close/>
                </a:path>
                <a:path w="2926080" h="342265">
                  <a:moveTo>
                    <a:pt x="2921568" y="48176"/>
                  </a:moveTo>
                  <a:lnTo>
                    <a:pt x="2832322" y="48176"/>
                  </a:lnTo>
                  <a:lnTo>
                    <a:pt x="2849221" y="52599"/>
                  </a:lnTo>
                  <a:lnTo>
                    <a:pt x="2857860" y="65066"/>
                  </a:lnTo>
                  <a:lnTo>
                    <a:pt x="2849612" y="120984"/>
                  </a:lnTo>
                  <a:lnTo>
                    <a:pt x="2817066" y="156539"/>
                  </a:lnTo>
                  <a:lnTo>
                    <a:pt x="2817066" y="204328"/>
                  </a:lnTo>
                  <a:lnTo>
                    <a:pt x="2880531" y="170408"/>
                  </a:lnTo>
                  <a:lnTo>
                    <a:pt x="2904496" y="140570"/>
                  </a:lnTo>
                  <a:lnTo>
                    <a:pt x="2920853" y="102719"/>
                  </a:lnTo>
                  <a:lnTo>
                    <a:pt x="2925471" y="76154"/>
                  </a:lnTo>
                  <a:lnTo>
                    <a:pt x="2925372" y="65066"/>
                  </a:lnTo>
                  <a:lnTo>
                    <a:pt x="2921568" y="48176"/>
                  </a:lnTo>
                  <a:close/>
                </a:path>
                <a:path w="2926080" h="342265">
                  <a:moveTo>
                    <a:pt x="2817066" y="156539"/>
                  </a:moveTo>
                  <a:lnTo>
                    <a:pt x="2812092" y="158340"/>
                  </a:lnTo>
                  <a:lnTo>
                    <a:pt x="2806783" y="159377"/>
                  </a:lnTo>
                  <a:lnTo>
                    <a:pt x="2817066" y="159377"/>
                  </a:lnTo>
                  <a:lnTo>
                    <a:pt x="2817066" y="156539"/>
                  </a:lnTo>
                  <a:close/>
                </a:path>
                <a:path w="2926080" h="342265">
                  <a:moveTo>
                    <a:pt x="2846489" y="0"/>
                  </a:moveTo>
                  <a:lnTo>
                    <a:pt x="2839047" y="195"/>
                  </a:lnTo>
                  <a:lnTo>
                    <a:pt x="2831636" y="785"/>
                  </a:lnTo>
                  <a:lnTo>
                    <a:pt x="2824296" y="1775"/>
                  </a:lnTo>
                  <a:lnTo>
                    <a:pt x="2817066" y="3172"/>
                  </a:lnTo>
                  <a:lnTo>
                    <a:pt x="2817066" y="50961"/>
                  </a:lnTo>
                  <a:lnTo>
                    <a:pt x="2821641" y="49202"/>
                  </a:lnTo>
                  <a:lnTo>
                    <a:pt x="2826615" y="48176"/>
                  </a:lnTo>
                  <a:lnTo>
                    <a:pt x="2921568" y="48176"/>
                  </a:lnTo>
                  <a:lnTo>
                    <a:pt x="2919704" y="39897"/>
                  </a:lnTo>
                  <a:lnTo>
                    <a:pt x="2905106" y="19088"/>
                  </a:lnTo>
                  <a:lnTo>
                    <a:pt x="2880945" y="5111"/>
                  </a:lnTo>
                  <a:lnTo>
                    <a:pt x="2846489" y="0"/>
                  </a:lnTo>
                  <a:close/>
                </a:path>
                <a:path w="2926080" h="342265">
                  <a:moveTo>
                    <a:pt x="533763" y="3957"/>
                  </a:moveTo>
                  <a:lnTo>
                    <a:pt x="0" y="3957"/>
                  </a:lnTo>
                  <a:lnTo>
                    <a:pt x="0" y="342188"/>
                  </a:lnTo>
                  <a:lnTo>
                    <a:pt x="533763" y="342188"/>
                  </a:lnTo>
                  <a:lnTo>
                    <a:pt x="533763" y="3957"/>
                  </a:lnTo>
                  <a:close/>
                </a:path>
              </a:pathLst>
            </a:custGeom>
            <a:solidFill>
              <a:srgbClr val="00814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2" name="object 116">
              <a:extLst>
                <a:ext uri="{FF2B5EF4-FFF2-40B4-BE49-F238E27FC236}">
                  <a16:creationId xmlns:a16="http://schemas.microsoft.com/office/drawing/2014/main" id="{D4F1B7A1-8E75-1239-EF78-CB4228DB698E}"/>
                </a:ext>
              </a:extLst>
            </p:cNvPr>
            <p:cNvSpPr/>
            <p:nvPr/>
          </p:nvSpPr>
          <p:spPr>
            <a:xfrm>
              <a:off x="16766546" y="10371568"/>
              <a:ext cx="534035" cy="129539"/>
            </a:xfrm>
            <a:custGeom>
              <a:avLst/>
              <a:gdLst/>
              <a:ahLst/>
              <a:cxnLst/>
              <a:rect l="l" t="t" r="r" b="b"/>
              <a:pathLst>
                <a:path w="534034" h="129540">
                  <a:moveTo>
                    <a:pt x="533763" y="0"/>
                  </a:moveTo>
                  <a:lnTo>
                    <a:pt x="0" y="0"/>
                  </a:lnTo>
                  <a:lnTo>
                    <a:pt x="0" y="129325"/>
                  </a:lnTo>
                  <a:lnTo>
                    <a:pt x="533763" y="129325"/>
                  </a:lnTo>
                  <a:lnTo>
                    <a:pt x="533763" y="0"/>
                  </a:lnTo>
                  <a:close/>
                </a:path>
              </a:pathLst>
            </a:custGeom>
            <a:solidFill>
              <a:srgbClr val="FDC42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4" name="object 117">
              <a:extLst>
                <a:ext uri="{FF2B5EF4-FFF2-40B4-BE49-F238E27FC236}">
                  <a16:creationId xmlns:a16="http://schemas.microsoft.com/office/drawing/2014/main" id="{03F200B1-3A5E-2607-824E-DE6CDECFC8A0}"/>
                </a:ext>
              </a:extLst>
            </p:cNvPr>
            <p:cNvSpPr/>
            <p:nvPr/>
          </p:nvSpPr>
          <p:spPr>
            <a:xfrm>
              <a:off x="16766445" y="10500818"/>
              <a:ext cx="534035" cy="264160"/>
            </a:xfrm>
            <a:custGeom>
              <a:avLst/>
              <a:gdLst/>
              <a:ahLst/>
              <a:cxnLst/>
              <a:rect l="l" t="t" r="r" b="b"/>
              <a:pathLst>
                <a:path w="534034" h="264159">
                  <a:moveTo>
                    <a:pt x="450292" y="187219"/>
                  </a:moveTo>
                  <a:lnTo>
                    <a:pt x="377108" y="187219"/>
                  </a:lnTo>
                  <a:lnTo>
                    <a:pt x="390664" y="189651"/>
                  </a:lnTo>
                  <a:lnTo>
                    <a:pt x="397101" y="195484"/>
                  </a:lnTo>
                  <a:lnTo>
                    <a:pt x="399147" y="202525"/>
                  </a:lnTo>
                  <a:lnTo>
                    <a:pt x="399539" y="208939"/>
                  </a:lnTo>
                  <a:lnTo>
                    <a:pt x="401411" y="263594"/>
                  </a:lnTo>
                  <a:lnTo>
                    <a:pt x="455085" y="263552"/>
                  </a:lnTo>
                  <a:lnTo>
                    <a:pt x="452436" y="197334"/>
                  </a:lnTo>
                  <a:lnTo>
                    <a:pt x="450292" y="187219"/>
                  </a:lnTo>
                  <a:close/>
                </a:path>
                <a:path w="534034" h="264159">
                  <a:moveTo>
                    <a:pt x="422489" y="64689"/>
                  </a:moveTo>
                  <a:lnTo>
                    <a:pt x="322262" y="64689"/>
                  </a:lnTo>
                  <a:lnTo>
                    <a:pt x="265175" y="262002"/>
                  </a:lnTo>
                  <a:lnTo>
                    <a:pt x="322953" y="262002"/>
                  </a:lnTo>
                  <a:lnTo>
                    <a:pt x="344073" y="187219"/>
                  </a:lnTo>
                  <a:lnTo>
                    <a:pt x="450292" y="187219"/>
                  </a:lnTo>
                  <a:lnTo>
                    <a:pt x="450248" y="187014"/>
                  </a:lnTo>
                  <a:lnTo>
                    <a:pt x="445457" y="179838"/>
                  </a:lnTo>
                  <a:lnTo>
                    <a:pt x="439119" y="175649"/>
                  </a:lnTo>
                  <a:lnTo>
                    <a:pt x="432290" y="174287"/>
                  </a:lnTo>
                  <a:lnTo>
                    <a:pt x="444656" y="169031"/>
                  </a:lnTo>
                  <a:lnTo>
                    <a:pt x="455538" y="161196"/>
                  </a:lnTo>
                  <a:lnTo>
                    <a:pt x="464319" y="152345"/>
                  </a:lnTo>
                  <a:lnTo>
                    <a:pt x="467089" y="148550"/>
                  </a:lnTo>
                  <a:lnTo>
                    <a:pt x="355025" y="148550"/>
                  </a:lnTo>
                  <a:lnTo>
                    <a:pt x="367203" y="104394"/>
                  </a:lnTo>
                  <a:lnTo>
                    <a:pt x="477533" y="104394"/>
                  </a:lnTo>
                  <a:lnTo>
                    <a:pt x="475650" y="95892"/>
                  </a:lnTo>
                  <a:lnTo>
                    <a:pt x="465661" y="79905"/>
                  </a:lnTo>
                  <a:lnTo>
                    <a:pt x="452026" y="70497"/>
                  </a:lnTo>
                  <a:lnTo>
                    <a:pt x="436914" y="65986"/>
                  </a:lnTo>
                  <a:lnTo>
                    <a:pt x="422489" y="64689"/>
                  </a:lnTo>
                  <a:close/>
                </a:path>
                <a:path w="534034" h="264159">
                  <a:moveTo>
                    <a:pt x="197554" y="64689"/>
                  </a:moveTo>
                  <a:lnTo>
                    <a:pt x="102740" y="64689"/>
                  </a:lnTo>
                  <a:lnTo>
                    <a:pt x="45862" y="261583"/>
                  </a:lnTo>
                  <a:lnTo>
                    <a:pt x="162372" y="261583"/>
                  </a:lnTo>
                  <a:lnTo>
                    <a:pt x="193085" y="259611"/>
                  </a:lnTo>
                  <a:lnTo>
                    <a:pt x="231804" y="241217"/>
                  </a:lnTo>
                  <a:lnTo>
                    <a:pt x="244382" y="221029"/>
                  </a:lnTo>
                  <a:lnTo>
                    <a:pt x="114917" y="221029"/>
                  </a:lnTo>
                  <a:lnTo>
                    <a:pt x="127210" y="178486"/>
                  </a:lnTo>
                  <a:lnTo>
                    <a:pt x="244256" y="178486"/>
                  </a:lnTo>
                  <a:lnTo>
                    <a:pt x="242212" y="174402"/>
                  </a:lnTo>
                  <a:lnTo>
                    <a:pt x="236392" y="167566"/>
                  </a:lnTo>
                  <a:lnTo>
                    <a:pt x="231130" y="163183"/>
                  </a:lnTo>
                  <a:lnTo>
                    <a:pt x="228275" y="161481"/>
                  </a:lnTo>
                  <a:lnTo>
                    <a:pt x="238829" y="154716"/>
                  </a:lnTo>
                  <a:lnTo>
                    <a:pt x="246786" y="146769"/>
                  </a:lnTo>
                  <a:lnTo>
                    <a:pt x="251334" y="140644"/>
                  </a:lnTo>
                  <a:lnTo>
                    <a:pt x="138027" y="140644"/>
                  </a:lnTo>
                  <a:lnTo>
                    <a:pt x="148246" y="104143"/>
                  </a:lnTo>
                  <a:lnTo>
                    <a:pt x="258753" y="104143"/>
                  </a:lnTo>
                  <a:lnTo>
                    <a:pt x="257796" y="97699"/>
                  </a:lnTo>
                  <a:lnTo>
                    <a:pt x="250212" y="83788"/>
                  </a:lnTo>
                  <a:lnTo>
                    <a:pt x="239272" y="74635"/>
                  </a:lnTo>
                  <a:lnTo>
                    <a:pt x="225736" y="68839"/>
                  </a:lnTo>
                  <a:lnTo>
                    <a:pt x="211274" y="65742"/>
                  </a:lnTo>
                  <a:lnTo>
                    <a:pt x="197554" y="64689"/>
                  </a:lnTo>
                  <a:close/>
                </a:path>
                <a:path w="534034" h="264159">
                  <a:moveTo>
                    <a:pt x="244256" y="178486"/>
                  </a:moveTo>
                  <a:lnTo>
                    <a:pt x="184538" y="178486"/>
                  </a:lnTo>
                  <a:lnTo>
                    <a:pt x="185606" y="183627"/>
                  </a:lnTo>
                  <a:lnTo>
                    <a:pt x="188214" y="187994"/>
                  </a:lnTo>
                  <a:lnTo>
                    <a:pt x="190790" y="192360"/>
                  </a:lnTo>
                  <a:lnTo>
                    <a:pt x="189596" y="201533"/>
                  </a:lnTo>
                  <a:lnTo>
                    <a:pt x="187826" y="204695"/>
                  </a:lnTo>
                  <a:lnTo>
                    <a:pt x="185548" y="208939"/>
                  </a:lnTo>
                  <a:lnTo>
                    <a:pt x="180935" y="214366"/>
                  </a:lnTo>
                  <a:lnTo>
                    <a:pt x="172228" y="219041"/>
                  </a:lnTo>
                  <a:lnTo>
                    <a:pt x="157670" y="221029"/>
                  </a:lnTo>
                  <a:lnTo>
                    <a:pt x="244382" y="221029"/>
                  </a:lnTo>
                  <a:lnTo>
                    <a:pt x="246728" y="215158"/>
                  </a:lnTo>
                  <a:lnTo>
                    <a:pt x="248941" y="198884"/>
                  </a:lnTo>
                  <a:lnTo>
                    <a:pt x="246746" y="183460"/>
                  </a:lnTo>
                  <a:lnTo>
                    <a:pt x="244256" y="178486"/>
                  </a:lnTo>
                  <a:close/>
                </a:path>
                <a:path w="534034" h="264159">
                  <a:moveTo>
                    <a:pt x="477533" y="104394"/>
                  </a:moveTo>
                  <a:lnTo>
                    <a:pt x="409202" y="104394"/>
                  </a:lnTo>
                  <a:lnTo>
                    <a:pt x="420873" y="106570"/>
                  </a:lnTo>
                  <a:lnTo>
                    <a:pt x="427070" y="111647"/>
                  </a:lnTo>
                  <a:lnTo>
                    <a:pt x="429522" y="117448"/>
                  </a:lnTo>
                  <a:lnTo>
                    <a:pt x="429955" y="121797"/>
                  </a:lnTo>
                  <a:lnTo>
                    <a:pt x="428341" y="129758"/>
                  </a:lnTo>
                  <a:lnTo>
                    <a:pt x="422972" y="138535"/>
                  </a:lnTo>
                  <a:lnTo>
                    <a:pt x="413058" y="145630"/>
                  </a:lnTo>
                  <a:lnTo>
                    <a:pt x="397809" y="148550"/>
                  </a:lnTo>
                  <a:lnTo>
                    <a:pt x="467089" y="148550"/>
                  </a:lnTo>
                  <a:lnTo>
                    <a:pt x="470383" y="144037"/>
                  </a:lnTo>
                  <a:lnTo>
                    <a:pt x="475068" y="134205"/>
                  </a:lnTo>
                  <a:lnTo>
                    <a:pt x="478149" y="122477"/>
                  </a:lnTo>
                  <a:lnTo>
                    <a:pt x="478663" y="109493"/>
                  </a:lnTo>
                  <a:lnTo>
                    <a:pt x="477533" y="104394"/>
                  </a:lnTo>
                  <a:close/>
                </a:path>
                <a:path w="534034" h="264159">
                  <a:moveTo>
                    <a:pt x="258753" y="104143"/>
                  </a:moveTo>
                  <a:lnTo>
                    <a:pt x="201595" y="104143"/>
                  </a:lnTo>
                  <a:lnTo>
                    <a:pt x="209637" y="109808"/>
                  </a:lnTo>
                  <a:lnTo>
                    <a:pt x="209637" y="119211"/>
                  </a:lnTo>
                  <a:lnTo>
                    <a:pt x="207849" y="127865"/>
                  </a:lnTo>
                  <a:lnTo>
                    <a:pt x="202869" y="134643"/>
                  </a:lnTo>
                  <a:lnTo>
                    <a:pt x="195276" y="139064"/>
                  </a:lnTo>
                  <a:lnTo>
                    <a:pt x="185648" y="140644"/>
                  </a:lnTo>
                  <a:lnTo>
                    <a:pt x="251334" y="140644"/>
                  </a:lnTo>
                  <a:lnTo>
                    <a:pt x="252001" y="139746"/>
                  </a:lnTo>
                  <a:lnTo>
                    <a:pt x="254327" y="135755"/>
                  </a:lnTo>
                  <a:lnTo>
                    <a:pt x="258193" y="125006"/>
                  </a:lnTo>
                  <a:lnTo>
                    <a:pt x="259903" y="111880"/>
                  </a:lnTo>
                  <a:lnTo>
                    <a:pt x="258753" y="104143"/>
                  </a:lnTo>
                  <a:close/>
                </a:path>
                <a:path w="534034" h="264159">
                  <a:moveTo>
                    <a:pt x="533868" y="0"/>
                  </a:moveTo>
                  <a:lnTo>
                    <a:pt x="0" y="0"/>
                  </a:lnTo>
                  <a:lnTo>
                    <a:pt x="0" y="64689"/>
                  </a:lnTo>
                  <a:lnTo>
                    <a:pt x="533868" y="64689"/>
                  </a:lnTo>
                  <a:lnTo>
                    <a:pt x="533868"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sp>
        <p:nvSpPr>
          <p:cNvPr id="2" name="Elipse 1">
            <a:extLst>
              <a:ext uri="{FF2B5EF4-FFF2-40B4-BE49-F238E27FC236}">
                <a16:creationId xmlns:a16="http://schemas.microsoft.com/office/drawing/2014/main" id="{C7F3FE31-F71F-C144-C6A8-E29B5C3CDF83}"/>
              </a:ext>
            </a:extLst>
          </p:cNvPr>
          <p:cNvSpPr/>
          <p:nvPr/>
        </p:nvSpPr>
        <p:spPr>
          <a:xfrm>
            <a:off x="11685200" y="6374990"/>
            <a:ext cx="398310" cy="398207"/>
          </a:xfrm>
          <a:prstGeom prst="ellipse">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800" b="1" dirty="0">
                <a:solidFill>
                  <a:srgbClr val="006199"/>
                </a:solidFill>
              </a:rPr>
              <a:t>P</a:t>
            </a:r>
          </a:p>
        </p:txBody>
      </p:sp>
      <p:sp>
        <p:nvSpPr>
          <p:cNvPr id="3" name="CaixaDeTexto 2">
            <a:extLst>
              <a:ext uri="{FF2B5EF4-FFF2-40B4-BE49-F238E27FC236}">
                <a16:creationId xmlns:a16="http://schemas.microsoft.com/office/drawing/2014/main" id="{4EFF3DF8-09FB-12A3-136A-576F7C2DB2EA}"/>
              </a:ext>
            </a:extLst>
          </p:cNvPr>
          <p:cNvSpPr txBox="1"/>
          <p:nvPr/>
        </p:nvSpPr>
        <p:spPr>
          <a:xfrm>
            <a:off x="353702" y="1425721"/>
            <a:ext cx="6522959" cy="1477328"/>
          </a:xfrm>
          <a:prstGeom prst="rect">
            <a:avLst/>
          </a:prstGeom>
          <a:noFill/>
        </p:spPr>
        <p:txBody>
          <a:bodyPr wrap="square" rtlCol="0">
            <a:spAutoFit/>
          </a:bodyPr>
          <a:lstStyle/>
          <a:p>
            <a:pPr algn="just" defTabSz="914377" eaLnBrk="0" fontAlgn="base" hangingPunct="0">
              <a:spcBef>
                <a:spcPct val="0"/>
              </a:spcBef>
              <a:spcAft>
                <a:spcPct val="0"/>
              </a:spcAft>
              <a:buClr>
                <a:srgbClr val="FDC82F"/>
              </a:buClr>
              <a:defRPr/>
            </a:pPr>
            <a:r>
              <a:rPr lang="en-US" b="1" dirty="0">
                <a:solidFill>
                  <a:schemeClr val="accent3"/>
                </a:solidFill>
                <a:latin typeface="Trebuchet MS" panose="020B0603020202020204" pitchFamily="34" charset="0"/>
              </a:rPr>
              <a:t>TP 25 SHIPBUILDING PROGRAM</a:t>
            </a:r>
          </a:p>
          <a:p>
            <a:pPr algn="just" defTabSz="914377" eaLnBrk="0" fontAlgn="base" hangingPunct="0">
              <a:spcBef>
                <a:spcPct val="0"/>
              </a:spcBef>
              <a:spcAft>
                <a:spcPct val="0"/>
              </a:spcAft>
              <a:buClr>
                <a:srgbClr val="FDC82F"/>
              </a:buClr>
              <a:defRPr/>
            </a:pPr>
            <a:endParaRPr lang="en-US" dirty="0">
              <a:solidFill>
                <a:srgbClr val="202124"/>
              </a:solidFill>
              <a:latin typeface="Trebuchet MS" panose="020B0603020202020204" pitchFamily="34" charset="0"/>
            </a:endParaRPr>
          </a:p>
          <a:p>
            <a:pPr marL="285750" indent="-285750" algn="just" defTabSz="914377" eaLnBrk="0" fontAlgn="base" hangingPunct="0">
              <a:spcBef>
                <a:spcPct val="0"/>
              </a:spcBef>
              <a:spcAft>
                <a:spcPct val="0"/>
              </a:spcAft>
              <a:buClr>
                <a:srgbClr val="008542"/>
              </a:buClr>
              <a:buFont typeface="Wingdings" panose="05000000000000000000" pitchFamily="2" charset="2"/>
              <a:buChar char="Ø"/>
              <a:defRPr/>
            </a:pPr>
            <a:r>
              <a:rPr lang="en-US" b="1" dirty="0">
                <a:solidFill>
                  <a:srgbClr val="008542"/>
                </a:solidFill>
                <a:latin typeface="Trebuchet MS" panose="020B0603020202020204" pitchFamily="34" charset="0"/>
              </a:rPr>
              <a:t>New Ships with dual fuel Main Engine.</a:t>
            </a:r>
          </a:p>
          <a:p>
            <a:pPr marL="285750" indent="-285750" algn="just" defTabSz="914377" eaLnBrk="0" fontAlgn="base" hangingPunct="0">
              <a:spcBef>
                <a:spcPct val="0"/>
              </a:spcBef>
              <a:spcAft>
                <a:spcPct val="0"/>
              </a:spcAft>
              <a:buClr>
                <a:srgbClr val="FDC82F"/>
              </a:buClr>
              <a:buFont typeface="Wingdings" panose="05000000000000000000" pitchFamily="2" charset="2"/>
              <a:buChar char="Ø"/>
              <a:defRPr/>
            </a:pPr>
            <a:endParaRPr lang="en-US" dirty="0">
              <a:solidFill>
                <a:srgbClr val="202124"/>
              </a:solidFill>
              <a:latin typeface="Trebuchet MS" panose="020B0603020202020204" pitchFamily="34" charset="0"/>
            </a:endParaRPr>
          </a:p>
          <a:p>
            <a:pPr marL="285750" indent="-285750" algn="just" defTabSz="914377" eaLnBrk="0" fontAlgn="base" hangingPunct="0">
              <a:spcBef>
                <a:spcPct val="0"/>
              </a:spcBef>
              <a:spcAft>
                <a:spcPct val="0"/>
              </a:spcAft>
              <a:buClr>
                <a:srgbClr val="008542"/>
              </a:buClr>
              <a:buFont typeface="Wingdings" panose="05000000000000000000" pitchFamily="2" charset="2"/>
              <a:buChar char="Ø"/>
              <a:defRPr/>
            </a:pPr>
            <a:r>
              <a:rPr lang="en-US" b="1" dirty="0">
                <a:solidFill>
                  <a:srgbClr val="008542"/>
                </a:solidFill>
                <a:latin typeface="Trebuchet MS" panose="020B0603020202020204" pitchFamily="34" charset="0"/>
              </a:rPr>
              <a:t>Additional specification </a:t>
            </a:r>
            <a:r>
              <a:rPr lang="en-US" dirty="0">
                <a:solidFill>
                  <a:srgbClr val="202124"/>
                </a:solidFill>
                <a:latin typeface="Trebuchet MS" panose="020B0603020202020204" pitchFamily="34" charset="0"/>
              </a:rPr>
              <a:t>includes the following projects:</a:t>
            </a:r>
            <a:endParaRPr lang="pt-BR" dirty="0">
              <a:solidFill>
                <a:srgbClr val="202124"/>
              </a:solidFill>
              <a:latin typeface="Trebuchet MS" panose="020B0603020202020204" pitchFamily="34" charset="0"/>
            </a:endParaRPr>
          </a:p>
        </p:txBody>
      </p:sp>
      <p:sp>
        <p:nvSpPr>
          <p:cNvPr id="4" name="CaixaDeTexto 3">
            <a:extLst>
              <a:ext uri="{FF2B5EF4-FFF2-40B4-BE49-F238E27FC236}">
                <a16:creationId xmlns:a16="http://schemas.microsoft.com/office/drawing/2014/main" id="{517F18A1-3BCC-B560-6F99-9F8E69BAC00B}"/>
              </a:ext>
            </a:extLst>
          </p:cNvPr>
          <p:cNvSpPr txBox="1"/>
          <p:nvPr/>
        </p:nvSpPr>
        <p:spPr>
          <a:xfrm>
            <a:off x="1392076" y="4576334"/>
            <a:ext cx="2337440" cy="1477328"/>
          </a:xfrm>
          <a:prstGeom prst="rect">
            <a:avLst/>
          </a:prstGeom>
          <a:solidFill>
            <a:schemeClr val="bg1"/>
          </a:solidFill>
          <a:ln>
            <a:noFill/>
          </a:ln>
          <a:effectLst>
            <a:outerShdw blurRad="63500" sx="102000" sy="102000" algn="ctr" rotWithShape="0">
              <a:prstClr val="black">
                <a:alpha val="40000"/>
              </a:prstClr>
            </a:outerShdw>
          </a:effectLst>
          <a:scene3d>
            <a:camera prst="orthographicFront">
              <a:rot lat="0" lon="0" rev="0"/>
            </a:camera>
            <a:lightRig rig="brightRoom" dir="t">
              <a:rot lat="0" lon="0" rev="600000"/>
            </a:lightRig>
          </a:scene3d>
          <a:sp3d prstMaterial="metal">
            <a:bevelT w="38100" h="57150" prst="angle"/>
          </a:sp3d>
        </p:spPr>
        <p:txBody>
          <a:bodyPr wrap="square" rtlCol="0">
            <a:spAutoFit/>
          </a:bodyPr>
          <a:lstStyle>
            <a:defPPr>
              <a:defRPr lang="pt-BR"/>
            </a:defPPr>
            <a:lvl1pPr algn="ctr">
              <a:defRPr sz="1400" b="1">
                <a:latin typeface="+mj-lt"/>
              </a:defRPr>
            </a:lvl1pPr>
          </a:lstStyle>
          <a:p>
            <a:pPr defTabSz="914377"/>
            <a:r>
              <a:rPr lang="pt-BR" dirty="0" err="1">
                <a:solidFill>
                  <a:prstClr val="black"/>
                </a:solidFill>
                <a:latin typeface="Trebuchet MS" panose="020B0603020202020204" pitchFamily="34" charset="0"/>
              </a:rPr>
              <a:t>Optimized</a:t>
            </a:r>
            <a:r>
              <a:rPr lang="pt-BR" dirty="0">
                <a:solidFill>
                  <a:prstClr val="black"/>
                </a:solidFill>
                <a:latin typeface="Trebuchet MS" panose="020B0603020202020204" pitchFamily="34" charset="0"/>
              </a:rPr>
              <a:t> Hull and </a:t>
            </a:r>
            <a:r>
              <a:rPr lang="pt-BR" dirty="0" err="1">
                <a:solidFill>
                  <a:prstClr val="black"/>
                </a:solidFill>
                <a:latin typeface="Trebuchet MS" panose="020B0603020202020204" pitchFamily="34" charset="0"/>
              </a:rPr>
              <a:t>Propeller</a:t>
            </a:r>
            <a:endParaRPr lang="pt-BR" dirty="0">
              <a:solidFill>
                <a:prstClr val="black"/>
              </a:solidFill>
              <a:latin typeface="Trebuchet MS" panose="020B0603020202020204" pitchFamily="34" charset="0"/>
            </a:endParaRPr>
          </a:p>
          <a:p>
            <a:pPr defTabSz="914377"/>
            <a:endParaRPr lang="pt-BR" dirty="0">
              <a:solidFill>
                <a:prstClr val="black"/>
              </a:solidFill>
              <a:latin typeface="Trebuchet MS" panose="020B0603020202020204" pitchFamily="34" charset="0"/>
            </a:endParaRPr>
          </a:p>
          <a:p>
            <a:pPr marL="171446" indent="-171446" algn="l" defTabSz="914377">
              <a:buFont typeface="Arial" panose="020B0604020202020204" pitchFamily="34" charset="0"/>
              <a:buChar char="•"/>
            </a:pPr>
            <a:r>
              <a:rPr lang="en-US" sz="1200" b="0" dirty="0">
                <a:solidFill>
                  <a:prstClr val="black"/>
                </a:solidFill>
                <a:latin typeface="Trebuchet MS" panose="020B0603020202020204" pitchFamily="34" charset="0"/>
              </a:rPr>
              <a:t>Ships built from 2025 onwards must be up to 30% more efficient than those in Phase 0 (Existing Fleet)</a:t>
            </a:r>
            <a:endParaRPr lang="pt-BR" sz="1200" dirty="0">
              <a:solidFill>
                <a:prstClr val="black"/>
              </a:solidFill>
              <a:latin typeface="Trebuchet MS" panose="020B0603020202020204" pitchFamily="34" charset="0"/>
            </a:endParaRPr>
          </a:p>
        </p:txBody>
      </p:sp>
      <p:sp>
        <p:nvSpPr>
          <p:cNvPr id="5" name="CaixaDeTexto 4">
            <a:extLst>
              <a:ext uri="{FF2B5EF4-FFF2-40B4-BE49-F238E27FC236}">
                <a16:creationId xmlns:a16="http://schemas.microsoft.com/office/drawing/2014/main" id="{FD26646C-90EA-5B76-85EC-3159C2DC283C}"/>
              </a:ext>
            </a:extLst>
          </p:cNvPr>
          <p:cNvSpPr txBox="1">
            <a:spLocks/>
          </p:cNvSpPr>
          <p:nvPr/>
        </p:nvSpPr>
        <p:spPr>
          <a:xfrm>
            <a:off x="4335667" y="4549632"/>
            <a:ext cx="1638889" cy="1477328"/>
          </a:xfrm>
          <a:prstGeom prst="rect">
            <a:avLst/>
          </a:prstGeom>
          <a:solidFill>
            <a:schemeClr val="bg1"/>
          </a:solidFill>
          <a:ln>
            <a:noFill/>
          </a:ln>
          <a:effectLst>
            <a:outerShdw blurRad="63500" sx="102000" sy="102000" algn="ctr" rotWithShape="0">
              <a:prstClr val="black">
                <a:alpha val="40000"/>
              </a:prstClr>
            </a:outerShdw>
          </a:effectLst>
          <a:scene3d>
            <a:camera prst="orthographicFront">
              <a:rot lat="0" lon="0" rev="0"/>
            </a:camera>
            <a:lightRig rig="brightRoom" dir="t">
              <a:rot lat="0" lon="0" rev="600000"/>
            </a:lightRig>
          </a:scene3d>
          <a:sp3d prstMaterial="metal">
            <a:bevelT w="38100" h="57150" prst="angle"/>
          </a:sp3d>
        </p:spPr>
        <p:txBody>
          <a:bodyPr wrap="square" rtlCol="0">
            <a:spAutoFit/>
          </a:bodyPr>
          <a:lstStyle>
            <a:defPPr>
              <a:defRPr lang="pt-BR"/>
            </a:defPPr>
            <a:lvl1pPr algn="ctr">
              <a:defRPr sz="1400" b="1">
                <a:latin typeface="+mj-lt"/>
              </a:defRPr>
            </a:lvl1pPr>
          </a:lstStyle>
          <a:p>
            <a:pPr defTabSz="914377"/>
            <a:r>
              <a:rPr lang="pt-BR" dirty="0">
                <a:solidFill>
                  <a:prstClr val="black"/>
                </a:solidFill>
                <a:latin typeface="Trebuchet MS" panose="020B0603020202020204" pitchFamily="34" charset="0"/>
              </a:rPr>
              <a:t>Shaft Generator</a:t>
            </a:r>
          </a:p>
          <a:p>
            <a:pPr defTabSz="914377"/>
            <a:endParaRPr lang="pt-BR" b="0" dirty="0">
              <a:solidFill>
                <a:prstClr val="black"/>
              </a:solidFill>
              <a:latin typeface="Trebuchet MS" panose="020B0603020202020204" pitchFamily="34" charset="0"/>
            </a:endParaRPr>
          </a:p>
          <a:p>
            <a:pPr defTabSz="914377"/>
            <a:endParaRPr lang="pt-BR" b="0" dirty="0">
              <a:solidFill>
                <a:prstClr val="black"/>
              </a:solidFill>
              <a:latin typeface="Trebuchet MS" panose="020B0603020202020204" pitchFamily="34" charset="0"/>
            </a:endParaRPr>
          </a:p>
          <a:p>
            <a:pPr marL="285744" indent="-285744" algn="l" defTabSz="914377">
              <a:buFont typeface="Arial" panose="020B0604020202020204" pitchFamily="34" charset="0"/>
              <a:buChar char="•"/>
            </a:pPr>
            <a:r>
              <a:rPr lang="en-US" sz="1200" b="0" dirty="0">
                <a:solidFill>
                  <a:prstClr val="black"/>
                </a:solidFill>
                <a:latin typeface="Trebuchet MS" panose="020B0603020202020204" pitchFamily="34" charset="0"/>
              </a:rPr>
              <a:t>Eliminates the use of AE when traveling</a:t>
            </a:r>
          </a:p>
          <a:p>
            <a:pPr marL="285744" indent="-285744" algn="l" defTabSz="914377">
              <a:buFont typeface="Arial" panose="020B0604020202020204" pitchFamily="34" charset="0"/>
              <a:buChar char="•"/>
            </a:pPr>
            <a:r>
              <a:rPr lang="en-US" sz="1200" b="0" dirty="0">
                <a:solidFill>
                  <a:prstClr val="black"/>
                </a:solidFill>
                <a:latin typeface="Trebuchet MS" panose="020B0603020202020204" pitchFamily="34" charset="0"/>
              </a:rPr>
              <a:t>Gain: 2 to 5%</a:t>
            </a:r>
            <a:endParaRPr lang="pt-BR" sz="1000" b="0" dirty="0">
              <a:solidFill>
                <a:prstClr val="black"/>
              </a:solidFill>
              <a:latin typeface="Trebuchet MS" panose="020B0603020202020204" pitchFamily="34" charset="0"/>
            </a:endParaRPr>
          </a:p>
        </p:txBody>
      </p:sp>
      <p:sp>
        <p:nvSpPr>
          <p:cNvPr id="6" name="CaixaDeTexto 5">
            <a:extLst>
              <a:ext uri="{FF2B5EF4-FFF2-40B4-BE49-F238E27FC236}">
                <a16:creationId xmlns:a16="http://schemas.microsoft.com/office/drawing/2014/main" id="{7C0C8CE7-6786-2353-878D-9DA992E343BD}"/>
              </a:ext>
            </a:extLst>
          </p:cNvPr>
          <p:cNvSpPr txBox="1"/>
          <p:nvPr/>
        </p:nvSpPr>
        <p:spPr>
          <a:xfrm>
            <a:off x="8930955" y="4559400"/>
            <a:ext cx="1686247" cy="1446550"/>
          </a:xfrm>
          <a:prstGeom prst="rect">
            <a:avLst/>
          </a:prstGeom>
          <a:solidFill>
            <a:schemeClr val="bg1"/>
          </a:solidFill>
          <a:ln>
            <a:noFill/>
          </a:ln>
          <a:effectLst>
            <a:outerShdw blurRad="63500" sx="102000" sy="102000" algn="ctr" rotWithShape="0">
              <a:prstClr val="black">
                <a:alpha val="40000"/>
              </a:prstClr>
            </a:outerShdw>
          </a:effectLst>
          <a:scene3d>
            <a:camera prst="orthographicFront">
              <a:rot lat="0" lon="0" rev="0"/>
            </a:camera>
            <a:lightRig rig="brightRoom" dir="t">
              <a:rot lat="0" lon="0" rev="600000"/>
            </a:lightRig>
          </a:scene3d>
          <a:sp3d prstMaterial="metal">
            <a:bevelT w="38100" h="57150" prst="angle"/>
          </a:sp3d>
        </p:spPr>
        <p:txBody>
          <a:bodyPr wrap="square" rtlCol="0">
            <a:spAutoFit/>
          </a:bodyPr>
          <a:lstStyle>
            <a:defPPr>
              <a:defRPr lang="pt-BR"/>
            </a:defPPr>
            <a:lvl1pPr algn="ctr">
              <a:defRPr sz="1400" b="1">
                <a:latin typeface="+mj-lt"/>
              </a:defRPr>
            </a:lvl1pPr>
          </a:lstStyle>
          <a:p>
            <a:pPr defTabSz="914377"/>
            <a:r>
              <a:rPr lang="pt-BR" dirty="0">
                <a:solidFill>
                  <a:prstClr val="black"/>
                </a:solidFill>
                <a:latin typeface="Trebuchet MS" panose="020B0603020202020204" pitchFamily="34" charset="0"/>
              </a:rPr>
              <a:t>LED </a:t>
            </a:r>
          </a:p>
          <a:p>
            <a:pPr defTabSz="914377"/>
            <a:endParaRPr lang="pt-BR" b="0" dirty="0">
              <a:solidFill>
                <a:prstClr val="black"/>
              </a:solidFill>
              <a:latin typeface="Trebuchet MS" panose="020B0603020202020204" pitchFamily="34" charset="0"/>
            </a:endParaRPr>
          </a:p>
          <a:p>
            <a:pPr marL="171446" indent="-171446" algn="l" defTabSz="914377">
              <a:buFont typeface="Arial" panose="020B0604020202020204" pitchFamily="34" charset="0"/>
              <a:buChar char="•"/>
            </a:pPr>
            <a:endParaRPr lang="pt-BR" sz="1200" b="0" dirty="0">
              <a:solidFill>
                <a:prstClr val="black"/>
              </a:solidFill>
              <a:latin typeface="Trebuchet MS" panose="020B0603020202020204" pitchFamily="34" charset="0"/>
            </a:endParaRPr>
          </a:p>
          <a:p>
            <a:pPr marL="171446" indent="-171446" algn="l" defTabSz="914377">
              <a:buFont typeface="Arial" panose="020B0604020202020204" pitchFamily="34" charset="0"/>
              <a:buChar char="•"/>
            </a:pPr>
            <a:r>
              <a:rPr lang="en-US" sz="1200" b="0" dirty="0">
                <a:solidFill>
                  <a:prstClr val="black"/>
                </a:solidFill>
                <a:latin typeface="Trebuchet MS" panose="020B0603020202020204" pitchFamily="34" charset="0"/>
              </a:rPr>
              <a:t>Reduction of electrical consumption</a:t>
            </a:r>
          </a:p>
          <a:p>
            <a:pPr marL="171446" indent="-171446" algn="l" defTabSz="914377">
              <a:buFont typeface="Arial" panose="020B0604020202020204" pitchFamily="34" charset="0"/>
              <a:buChar char="•"/>
            </a:pPr>
            <a:r>
              <a:rPr lang="en-US" sz="1200" b="0" dirty="0">
                <a:solidFill>
                  <a:prstClr val="black"/>
                </a:solidFill>
                <a:latin typeface="Trebuchet MS" panose="020B0603020202020204" pitchFamily="34" charset="0"/>
              </a:rPr>
              <a:t>Gain: 0.5 to 0.7</a:t>
            </a:r>
            <a:r>
              <a:rPr lang="pt-BR" sz="1200" b="0" dirty="0">
                <a:solidFill>
                  <a:prstClr val="black"/>
                </a:solidFill>
                <a:latin typeface="Trebuchet MS" panose="020B0603020202020204" pitchFamily="34" charset="0"/>
              </a:rPr>
              <a:t>%</a:t>
            </a:r>
          </a:p>
        </p:txBody>
      </p:sp>
      <p:sp>
        <p:nvSpPr>
          <p:cNvPr id="7" name="CaixaDeTexto 6">
            <a:extLst>
              <a:ext uri="{FF2B5EF4-FFF2-40B4-BE49-F238E27FC236}">
                <a16:creationId xmlns:a16="http://schemas.microsoft.com/office/drawing/2014/main" id="{A5CB281F-8D34-6FC9-F95D-F611F7ED4A97}"/>
              </a:ext>
            </a:extLst>
          </p:cNvPr>
          <p:cNvSpPr txBox="1"/>
          <p:nvPr/>
        </p:nvSpPr>
        <p:spPr>
          <a:xfrm>
            <a:off x="6572629" y="4544012"/>
            <a:ext cx="1765659" cy="1477328"/>
          </a:xfrm>
          <a:prstGeom prst="rect">
            <a:avLst/>
          </a:prstGeom>
          <a:solidFill>
            <a:schemeClr val="bg1"/>
          </a:solidFill>
          <a:ln>
            <a:noFill/>
          </a:ln>
          <a:effectLst>
            <a:outerShdw blurRad="63500" sx="102000" sy="102000" algn="ctr" rotWithShape="0">
              <a:prstClr val="black">
                <a:alpha val="40000"/>
              </a:prstClr>
            </a:outerShdw>
          </a:effectLst>
          <a:scene3d>
            <a:camera prst="orthographicFront">
              <a:rot lat="0" lon="0" rev="0"/>
            </a:camera>
            <a:lightRig rig="brightRoom" dir="t">
              <a:rot lat="0" lon="0" rev="600000"/>
            </a:lightRig>
          </a:scene3d>
          <a:sp3d prstMaterial="metal">
            <a:bevelT w="38100" h="57150" prst="angle"/>
          </a:sp3d>
        </p:spPr>
        <p:txBody>
          <a:bodyPr wrap="square" rtlCol="0">
            <a:spAutoFit/>
          </a:bodyPr>
          <a:lstStyle>
            <a:defPPr>
              <a:defRPr lang="pt-BR"/>
            </a:defPPr>
            <a:lvl1pPr algn="ctr">
              <a:defRPr sz="1400" b="1">
                <a:latin typeface="+mj-lt"/>
              </a:defRPr>
            </a:lvl1pPr>
          </a:lstStyle>
          <a:p>
            <a:pPr defTabSz="914377"/>
            <a:r>
              <a:rPr lang="pt-BR" dirty="0">
                <a:solidFill>
                  <a:prstClr val="black"/>
                </a:solidFill>
                <a:latin typeface="Trebuchet MS" panose="020B0603020202020204" pitchFamily="34" charset="0"/>
              </a:rPr>
              <a:t>Shore Power</a:t>
            </a:r>
          </a:p>
          <a:p>
            <a:pPr defTabSz="914377"/>
            <a:endParaRPr lang="pt-BR" b="0" dirty="0">
              <a:solidFill>
                <a:prstClr val="black"/>
              </a:solidFill>
              <a:latin typeface="Trebuchet MS" panose="020B0603020202020204" pitchFamily="34" charset="0"/>
            </a:endParaRPr>
          </a:p>
          <a:p>
            <a:pPr defTabSz="914377"/>
            <a:endParaRPr lang="pt-BR" b="0" dirty="0">
              <a:solidFill>
                <a:prstClr val="black"/>
              </a:solidFill>
              <a:latin typeface="Trebuchet MS" panose="020B0603020202020204" pitchFamily="34" charset="0"/>
            </a:endParaRPr>
          </a:p>
          <a:p>
            <a:pPr marL="171446" indent="-171446" algn="l" defTabSz="914377">
              <a:buFont typeface="Arial" panose="020B0604020202020204" pitchFamily="34" charset="0"/>
              <a:buChar char="•"/>
            </a:pPr>
            <a:r>
              <a:rPr lang="en-US" sz="1200" b="0" dirty="0">
                <a:solidFill>
                  <a:prstClr val="black"/>
                </a:solidFill>
                <a:latin typeface="Trebuchet MS" panose="020B0603020202020204" pitchFamily="34" charset="0"/>
              </a:rPr>
              <a:t>Use of shore power during port operations</a:t>
            </a:r>
          </a:p>
          <a:p>
            <a:pPr marL="171446" indent="-171446" algn="l" defTabSz="914377">
              <a:buFont typeface="Arial" panose="020B0604020202020204" pitchFamily="34" charset="0"/>
              <a:buChar char="•"/>
            </a:pPr>
            <a:r>
              <a:rPr lang="en-US" sz="1200" b="0" dirty="0">
                <a:solidFill>
                  <a:prstClr val="black"/>
                </a:solidFill>
                <a:latin typeface="Trebuchet MS" panose="020B0603020202020204" pitchFamily="34" charset="0"/>
              </a:rPr>
              <a:t>Gain: 5 to 7%</a:t>
            </a:r>
            <a:endParaRPr lang="pt-BR" sz="1200" b="0" dirty="0">
              <a:solidFill>
                <a:prstClr val="black"/>
              </a:solidFill>
              <a:latin typeface="Trebuchet MS" panose="020B0603020202020204" pitchFamily="34" charset="0"/>
            </a:endParaRPr>
          </a:p>
        </p:txBody>
      </p:sp>
      <p:pic>
        <p:nvPicPr>
          <p:cNvPr id="9" name="Picture 2" descr="COMEL - Industrial automation and electrotechnics - Navy Shore to Ship  Connectors">
            <a:extLst>
              <a:ext uri="{FF2B5EF4-FFF2-40B4-BE49-F238E27FC236}">
                <a16:creationId xmlns:a16="http://schemas.microsoft.com/office/drawing/2014/main" id="{05CD2DB6-A08B-D225-DEB9-5BF0F81A26C4}"/>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6572629" y="3162388"/>
            <a:ext cx="1765659" cy="1354163"/>
          </a:xfrm>
          <a:prstGeom prst="rect">
            <a:avLst/>
          </a:prstGeom>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 name="Picture 2" descr="Resultado de imagem para hull optimization">
            <a:extLst>
              <a:ext uri="{FF2B5EF4-FFF2-40B4-BE49-F238E27FC236}">
                <a16:creationId xmlns:a16="http://schemas.microsoft.com/office/drawing/2014/main" id="{2D014097-6004-4357-4F9A-6D695F08A644}"/>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392076" y="3180571"/>
            <a:ext cx="2337439" cy="1326703"/>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3" name="Imagem 12">
            <a:extLst>
              <a:ext uri="{FF2B5EF4-FFF2-40B4-BE49-F238E27FC236}">
                <a16:creationId xmlns:a16="http://schemas.microsoft.com/office/drawing/2014/main" id="{E58F21DF-A9F0-85B7-AA0A-AB1D3E1B1C35}"/>
              </a:ext>
            </a:extLst>
          </p:cNvPr>
          <p:cNvPicPr>
            <a:picLocks noChangeAspect="1"/>
          </p:cNvPicPr>
          <p:nvPr/>
        </p:nvPicPr>
        <p:blipFill>
          <a:blip r:embed="rId10"/>
          <a:stretch>
            <a:fillRect/>
          </a:stretch>
        </p:blipFill>
        <p:spPr>
          <a:xfrm>
            <a:off x="4335667" y="3162390"/>
            <a:ext cx="1638889" cy="1326703"/>
          </a:xfrm>
          <a:prstGeom prst="rect">
            <a:avLst/>
          </a:prstGeom>
          <a:effectLst>
            <a:outerShdw blurRad="63500" sx="102000" sy="102000" algn="ctr" rotWithShape="0">
              <a:prstClr val="black">
                <a:alpha val="40000"/>
              </a:prstClr>
            </a:outerShdw>
          </a:effectLst>
        </p:spPr>
      </p:pic>
      <p:pic>
        <p:nvPicPr>
          <p:cNvPr id="16" name="Imagem 15">
            <a:extLst>
              <a:ext uri="{FF2B5EF4-FFF2-40B4-BE49-F238E27FC236}">
                <a16:creationId xmlns:a16="http://schemas.microsoft.com/office/drawing/2014/main" id="{90EB4735-564E-0309-CD26-00CDEA2063E9}"/>
              </a:ext>
            </a:extLst>
          </p:cNvPr>
          <p:cNvPicPr>
            <a:picLocks noChangeAspect="1"/>
          </p:cNvPicPr>
          <p:nvPr/>
        </p:nvPicPr>
        <p:blipFill>
          <a:blip r:embed="rId11"/>
          <a:stretch>
            <a:fillRect/>
          </a:stretch>
        </p:blipFill>
        <p:spPr>
          <a:xfrm>
            <a:off x="8920861" y="3119034"/>
            <a:ext cx="1684813" cy="1354161"/>
          </a:xfrm>
          <a:prstGeom prst="rect">
            <a:avLst/>
          </a:prstGeom>
          <a:effectLst>
            <a:outerShdw blurRad="63500" sx="102000" sy="102000" algn="ctr" rotWithShape="0">
              <a:prstClr val="black">
                <a:alpha val="40000"/>
              </a:prstClr>
            </a:outerShdw>
          </a:effectLst>
        </p:spPr>
      </p:pic>
      <p:pic>
        <p:nvPicPr>
          <p:cNvPr id="17" name="Imagem 16">
            <a:extLst>
              <a:ext uri="{FF2B5EF4-FFF2-40B4-BE49-F238E27FC236}">
                <a16:creationId xmlns:a16="http://schemas.microsoft.com/office/drawing/2014/main" id="{ED31729D-E986-571E-D158-4D19D8671B70}"/>
              </a:ext>
            </a:extLst>
          </p:cNvPr>
          <p:cNvPicPr>
            <a:picLocks noChangeAspect="1"/>
          </p:cNvPicPr>
          <p:nvPr/>
        </p:nvPicPr>
        <p:blipFill>
          <a:blip r:embed="rId12"/>
          <a:stretch>
            <a:fillRect/>
          </a:stretch>
        </p:blipFill>
        <p:spPr>
          <a:xfrm>
            <a:off x="7006593" y="1245415"/>
            <a:ext cx="4617328" cy="128394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011745642"/>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o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BFF00"/>
        </a:solidFill>
        <a:ln>
          <a:noFill/>
        </a:ln>
      </a:spPr>
      <a:bodyPr rtlCol="0" anchor="ctr"/>
      <a:lstStyle>
        <a:defPPr marL="0" marR="0" indent="0" algn="ctr" defTabSz="1218832" rtl="0" eaLnBrk="1" fontAlgn="auto" latinLnBrk="0" hangingPunct="1">
          <a:lnSpc>
            <a:spcPct val="100000"/>
          </a:lnSpc>
          <a:spcBef>
            <a:spcPts val="0"/>
          </a:spcBef>
          <a:spcAft>
            <a:spcPts val="0"/>
          </a:spcAft>
          <a:buClrTx/>
          <a:buSzTx/>
          <a:buFontTx/>
          <a:buNone/>
          <a:tabLst/>
          <a:defRPr kumimoji="0" sz="2400" b="0" i="0" u="none" strike="noStrike" kern="1200" cap="none" spc="0" normalizeH="0" baseline="0" noProof="0">
            <a:ln>
              <a:noFill/>
            </a:ln>
            <a:solidFill>
              <a:prstClr val="white"/>
            </a:solidFill>
            <a:effectLst/>
            <a:uLnTx/>
            <a:uFillTx/>
            <a:latin typeface="Calibri"/>
            <a:ea typeface="+mn-ea"/>
            <a:cs typeface="+mn-cs"/>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2_Personalizar design">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1_Personalizar design">
  <a:themeElements>
    <a:clrScheme name="Escritório">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Personalizar design">
  <a:themeElements>
    <a:clrScheme name="Escritório">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3_Títulos da Apresentação">
  <a:themeElements>
    <a:clrScheme name="Combinação 1">
      <a:dk1>
        <a:sysClr val="windowText" lastClr="000000"/>
      </a:dk1>
      <a:lt1>
        <a:sysClr val="window" lastClr="FFFFFF"/>
      </a:lt1>
      <a:dk2>
        <a:srgbClr val="1F497D"/>
      </a:dk2>
      <a:lt2>
        <a:srgbClr val="EEECE1"/>
      </a:lt2>
      <a:accent1>
        <a:srgbClr val="008542"/>
      </a:accent1>
      <a:accent2>
        <a:srgbClr val="FDC82F"/>
      </a:accent2>
      <a:accent3>
        <a:srgbClr val="006298"/>
      </a:accent3>
      <a:accent4>
        <a:srgbClr val="00B2A9"/>
      </a:accent4>
      <a:accent5>
        <a:srgbClr val="A8B400"/>
      </a:accent5>
      <a:accent6>
        <a:srgbClr val="FF7000"/>
      </a:accent6>
      <a:hlink>
        <a:srgbClr val="675C53"/>
      </a:hlink>
      <a:folHlink>
        <a:srgbClr val="BCBDBC"/>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Tema do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9b709f3b-d89a-400d-bb1b-4892d889e5f2" xsi:nil="true"/>
    <lcf76f155ced4ddcb4097134ff3c332f xmlns="9760ea5b-e8fb-4b57-830f-2043a4a8afb5">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o" ma:contentTypeID="0x0101006F71BBA3DF958F44BD1BC664D365B19F" ma:contentTypeVersion="18" ma:contentTypeDescription="Criar um novo documento." ma:contentTypeScope="" ma:versionID="f3e86a85518cbf7307c8fca03ac8576d">
  <xsd:schema xmlns:xsd="http://www.w3.org/2001/XMLSchema" xmlns:xs="http://www.w3.org/2001/XMLSchema" xmlns:p="http://schemas.microsoft.com/office/2006/metadata/properties" xmlns:ns2="9760ea5b-e8fb-4b57-830f-2043a4a8afb5" xmlns:ns3="9b709f3b-d89a-400d-bb1b-4892d889e5f2" targetNamespace="http://schemas.microsoft.com/office/2006/metadata/properties" ma:root="true" ma:fieldsID="93337253c7e2ecf22e86437ccf60c977" ns2:_="" ns3:_="">
    <xsd:import namespace="9760ea5b-e8fb-4b57-830f-2043a4a8afb5"/>
    <xsd:import namespace="9b709f3b-d89a-400d-bb1b-4892d889e5f2"/>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lcf76f155ced4ddcb4097134ff3c332f" minOccurs="0"/>
                <xsd:element ref="ns3:TaxCatchAll" minOccurs="0"/>
                <xsd:element ref="ns2:MediaServiceLocatio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760ea5b-e8fb-4b57-830f-2043a4a8afb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6" nillable="true" ma:displayName="Tags" ma:internalName="MediaServiceAutoTags"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lcf76f155ced4ddcb4097134ff3c332f" ma:index="21" nillable="true" ma:taxonomy="true" ma:internalName="lcf76f155ced4ddcb4097134ff3c332f" ma:taxonomyFieldName="MediaServiceImageTags" ma:displayName="Etiquetas de Imagem" ma:readOnly="false" ma:fieldId="{5cf76f15-5ced-4ddc-b409-7134ff3c332f}" ma:taxonomyMulti="true" ma:sspId="4bb34d3b-689d-4395-b7bd-987435fe9eb0" ma:termSetId="09814cd3-568e-fe90-9814-8d621ff8fb84" ma:anchorId="fba54fb3-c3e1-fe81-a776-ca4b69148c4d" ma:open="true" ma:isKeyword="false">
      <xsd:complexType>
        <xsd:sequence>
          <xsd:element ref="pc:Terms" minOccurs="0" maxOccurs="1"/>
        </xsd:sequence>
      </xsd:complexType>
    </xsd:element>
    <xsd:element name="MediaServiceLocation" ma:index="23" nillable="true" ma:displayName="Location" ma:indexed="true" ma:internalName="MediaServiceLocation" ma:readOnly="true">
      <xsd:simpleType>
        <xsd:restriction base="dms:Text"/>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b709f3b-d89a-400d-bb1b-4892d889e5f2" elementFormDefault="qualified">
    <xsd:import namespace="http://schemas.microsoft.com/office/2006/documentManagement/types"/>
    <xsd:import namespace="http://schemas.microsoft.com/office/infopath/2007/PartnerControls"/>
    <xsd:element name="SharedWithUsers" ma:index="14" nillable="true" ma:displayName="Partilhado Com"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Detalhes de Partilhado Com" ma:internalName="SharedWithDetails" ma:readOnly="true">
      <xsd:simpleType>
        <xsd:restriction base="dms:Note">
          <xsd:maxLength value="255"/>
        </xsd:restriction>
      </xsd:simpleType>
    </xsd:element>
    <xsd:element name="TaxCatchAll" ma:index="22" nillable="true" ma:displayName="Taxonomy Catch All Column" ma:hidden="true" ma:list="{c13205a9-ae64-4c68-af93-fe0c25d6bde6}" ma:internalName="TaxCatchAll" ma:showField="CatchAllData" ma:web="9b709f3b-d89a-400d-bb1b-4892d889e5f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ú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FD0AA5F-6D86-474C-9B8F-4046BADE8B6F}">
  <ds:schemaRefs>
    <ds:schemaRef ds:uri="http://purl.org/dc/dcmitype/"/>
    <ds:schemaRef ds:uri="http://purl.org/dc/elements/1.1/"/>
    <ds:schemaRef ds:uri="http://schemas.microsoft.com/office/2006/documentManagement/types"/>
    <ds:schemaRef ds:uri="http://schemas.microsoft.com/office/infopath/2007/PartnerControls"/>
    <ds:schemaRef ds:uri="http://schemas.microsoft.com/office/2006/metadata/properties"/>
    <ds:schemaRef ds:uri="9760ea5b-e8fb-4b57-830f-2043a4a8afb5"/>
    <ds:schemaRef ds:uri="http://schemas.openxmlformats.org/package/2006/metadata/core-properties"/>
    <ds:schemaRef ds:uri="9b709f3b-d89a-400d-bb1b-4892d889e5f2"/>
    <ds:schemaRef ds:uri="http://www.w3.org/XML/1998/namespace"/>
    <ds:schemaRef ds:uri="http://purl.org/dc/terms/"/>
  </ds:schemaRefs>
</ds:datastoreItem>
</file>

<file path=customXml/itemProps2.xml><?xml version="1.0" encoding="utf-8"?>
<ds:datastoreItem xmlns:ds="http://schemas.openxmlformats.org/officeDocument/2006/customXml" ds:itemID="{17502D69-3C5D-4817-9EE6-A5AE4EC1DAE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760ea5b-e8fb-4b57-830f-2043a4a8afb5"/>
    <ds:schemaRef ds:uri="9b709f3b-d89a-400d-bb1b-4892d889e5f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39F1F1A-5338-4A6B-B917-731CFD76ADE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6725</TotalTime>
  <Words>1611</Words>
  <Application>Microsoft Office PowerPoint</Application>
  <PresentationFormat>Widescreen</PresentationFormat>
  <Paragraphs>210</Paragraphs>
  <Slides>14</Slides>
  <Notes>6</Notes>
  <HiddenSlides>0</HiddenSlides>
  <MMClips>0</MMClips>
  <ScaleCrop>false</ScaleCrop>
  <HeadingPairs>
    <vt:vector size="4" baseType="variant">
      <vt:variant>
        <vt:lpstr>Tema</vt:lpstr>
      </vt:variant>
      <vt:variant>
        <vt:i4>6</vt:i4>
      </vt:variant>
      <vt:variant>
        <vt:lpstr>Títulos de slides</vt:lpstr>
      </vt:variant>
      <vt:variant>
        <vt:i4>14</vt:i4>
      </vt:variant>
    </vt:vector>
  </HeadingPairs>
  <TitlesOfParts>
    <vt:vector size="20" baseType="lpstr">
      <vt:lpstr>Tema do Office</vt:lpstr>
      <vt:lpstr>2_Personalizar design</vt:lpstr>
      <vt:lpstr>1_Personalizar design</vt:lpstr>
      <vt:lpstr>3_Personalizar design</vt:lpstr>
      <vt:lpstr>3_Office Theme</vt:lpstr>
      <vt:lpstr>3_Títulos da Apresentação</vt:lpstr>
      <vt:lpstr>Apresentação do PowerPoint</vt:lpstr>
      <vt:lpstr>Apresentação do PowerPoint</vt:lpstr>
      <vt:lpstr>Apresentação do PowerPoint</vt:lpstr>
      <vt:lpstr>Three coexisting global orders:</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vector>
  </TitlesOfParts>
  <Company>PETROBRA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resentação do PowerPoint</dc:title>
  <dc:creator>Sandra Mara Daniel</dc:creator>
  <cp:lastModifiedBy>Jones Alexandre Barros Soares</cp:lastModifiedBy>
  <cp:revision>154</cp:revision>
  <dcterms:created xsi:type="dcterms:W3CDTF">2024-04-04T13:44:20Z</dcterms:created>
  <dcterms:modified xsi:type="dcterms:W3CDTF">2026-05-11T14:11: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6006dd2-fbe3-4519-88e6-262e73109866_Enabled">
    <vt:lpwstr>true</vt:lpwstr>
  </property>
  <property fmtid="{D5CDD505-2E9C-101B-9397-08002B2CF9AE}" pid="3" name="MSIP_Label_86006dd2-fbe3-4519-88e6-262e73109866_SetDate">
    <vt:lpwstr>2024-04-10T13:13:37Z</vt:lpwstr>
  </property>
  <property fmtid="{D5CDD505-2E9C-101B-9397-08002B2CF9AE}" pid="4" name="MSIP_Label_86006dd2-fbe3-4519-88e6-262e73109866_Method">
    <vt:lpwstr>Privileged</vt:lpwstr>
  </property>
  <property fmtid="{D5CDD505-2E9C-101B-9397-08002B2CF9AE}" pid="5" name="MSIP_Label_86006dd2-fbe3-4519-88e6-262e73109866_Name">
    <vt:lpwstr>Pública</vt:lpwstr>
  </property>
  <property fmtid="{D5CDD505-2E9C-101B-9397-08002B2CF9AE}" pid="6" name="MSIP_Label_86006dd2-fbe3-4519-88e6-262e73109866_SiteId">
    <vt:lpwstr>46f6a780-86e1-4570-9459-bb97b7d99f9d</vt:lpwstr>
  </property>
  <property fmtid="{D5CDD505-2E9C-101B-9397-08002B2CF9AE}" pid="7" name="MSIP_Label_86006dd2-fbe3-4519-88e6-262e73109866_ActionId">
    <vt:lpwstr>b23e8cbe-3080-4771-b39f-e7c4f918c896</vt:lpwstr>
  </property>
  <property fmtid="{D5CDD505-2E9C-101B-9397-08002B2CF9AE}" pid="8" name="MSIP_Label_86006dd2-fbe3-4519-88e6-262e73109866_ContentBits">
    <vt:lpwstr>2</vt:lpwstr>
  </property>
  <property fmtid="{D5CDD505-2E9C-101B-9397-08002B2CF9AE}" pid="9" name="ClassificationContentMarkingFooterLocations">
    <vt:lpwstr>Tema do Office:8\3_Office Theme:3\Slide Branco:3\4_Office Theme:3</vt:lpwstr>
  </property>
  <property fmtid="{D5CDD505-2E9C-101B-9397-08002B2CF9AE}" pid="10" name="ClassificationContentMarkingFooterText">
    <vt:lpwstr>PÚBLICA</vt:lpwstr>
  </property>
  <property fmtid="{D5CDD505-2E9C-101B-9397-08002B2CF9AE}" pid="11" name="ContentTypeId">
    <vt:lpwstr>0x0101006F71BBA3DF958F44BD1BC664D365B19F</vt:lpwstr>
  </property>
  <property fmtid="{D5CDD505-2E9C-101B-9397-08002B2CF9AE}" pid="12" name="MediaServiceImageTags">
    <vt:lpwstr/>
  </property>
</Properties>
</file>